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theme/theme3.xml" ContentType="application/vnd.openxmlformats-officedocument.theme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8620" r:id="rId1"/>
    <p:sldMasterId id="2147488351" r:id="rId2"/>
    <p:sldMasterId id="2147488372" r:id="rId3"/>
    <p:sldMasterId id="2147483672" r:id="rId4"/>
  </p:sldMasterIdLst>
  <p:notesMasterIdLst>
    <p:notesMasterId r:id="rId34"/>
  </p:notesMasterIdLst>
  <p:sldIdLst>
    <p:sldId id="280" r:id="rId5"/>
    <p:sldId id="968" r:id="rId6"/>
    <p:sldId id="878" r:id="rId7"/>
    <p:sldId id="880" r:id="rId8"/>
    <p:sldId id="737" r:id="rId9"/>
    <p:sldId id="858" r:id="rId10"/>
    <p:sldId id="981" r:id="rId11"/>
    <p:sldId id="982" r:id="rId12"/>
    <p:sldId id="983" r:id="rId13"/>
    <p:sldId id="980" r:id="rId14"/>
    <p:sldId id="995" r:id="rId15"/>
    <p:sldId id="978" r:id="rId16"/>
    <p:sldId id="985" r:id="rId17"/>
    <p:sldId id="979" r:id="rId18"/>
    <p:sldId id="991" r:id="rId19"/>
    <p:sldId id="258" r:id="rId20"/>
    <p:sldId id="262" r:id="rId21"/>
    <p:sldId id="977" r:id="rId22"/>
    <p:sldId id="984" r:id="rId23"/>
    <p:sldId id="996" r:id="rId24"/>
    <p:sldId id="997" r:id="rId25"/>
    <p:sldId id="925" r:id="rId26"/>
    <p:sldId id="994" r:id="rId27"/>
    <p:sldId id="919" r:id="rId28"/>
    <p:sldId id="955" r:id="rId29"/>
    <p:sldId id="974" r:id="rId30"/>
    <p:sldId id="832" r:id="rId31"/>
    <p:sldId id="845" r:id="rId32"/>
    <p:sldId id="852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F8A85DEA-AFB8-4B6A-BC65-DF50ADB8C6D1}">
          <p14:sldIdLst>
            <p14:sldId id="280"/>
            <p14:sldId id="968"/>
            <p14:sldId id="878"/>
            <p14:sldId id="880"/>
            <p14:sldId id="737"/>
            <p14:sldId id="858"/>
            <p14:sldId id="981"/>
            <p14:sldId id="982"/>
            <p14:sldId id="983"/>
            <p14:sldId id="980"/>
            <p14:sldId id="995"/>
            <p14:sldId id="978"/>
            <p14:sldId id="985"/>
            <p14:sldId id="979"/>
            <p14:sldId id="991"/>
            <p14:sldId id="258"/>
            <p14:sldId id="262"/>
            <p14:sldId id="977"/>
            <p14:sldId id="984"/>
            <p14:sldId id="996"/>
            <p14:sldId id="997"/>
            <p14:sldId id="925"/>
            <p14:sldId id="994"/>
            <p14:sldId id="919"/>
            <p14:sldId id="955"/>
            <p14:sldId id="974"/>
            <p14:sldId id="832"/>
            <p14:sldId id="845"/>
            <p14:sldId id="852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60694B3-8FF5-47FD-9C29-60D3B010448E}" v="1" dt="2024-07-15T18:53:30.684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10"/>
    <p:restoredTop sz="94686"/>
  </p:normalViewPr>
  <p:slideViewPr>
    <p:cSldViewPr snapToGrid="0">
      <p:cViewPr varScale="1">
        <p:scale>
          <a:sx n="101" d="100"/>
          <a:sy n="101" d="100"/>
        </p:scale>
        <p:origin x="1000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5/10/relationships/revisionInfo" Target="revisionInfo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36F507-7DE3-47AF-869D-B5330FAFC619}" type="datetimeFigureOut">
              <a:t>7/15/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720E13-4014-47BB-92E4-D32DC289857F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48417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633951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>
              <a:cs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300203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F30B010-FF72-F22C-89F5-6F969D8952A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97FBDAC9-7258-171C-50F1-43D1301BBF54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39B4A6D2-AE17-E5D3-89D8-CFCA2DF12597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98F5BFF-47B7-6110-D5DA-510AAD240A8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8B47C4E-2555-48D5-B810-2EFF142F540E}" type="slidenum">
              <a:rPr lang="en-US" smtClean="0"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77280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0" name="Google Shape;12720;p1192:notes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21" name="Google Shape;12721;p1192:notes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endParaRPr/>
          </a:p>
        </p:txBody>
      </p:sp>
      <p:sp>
        <p:nvSpPr>
          <p:cNvPr id="12722" name="Google Shape;12722;p1192:notes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</a:pPr>
            <a:fld id="{00000000-1234-1234-1234-123412341234}" type="slidenum">
              <a:rPr lang="en-US"/>
              <a:t>29</a:t>
            </a:fld>
            <a:endParaRPr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23559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92C71E-C066-413C-8B82-ED7EB3E3A740}" type="slidenum">
              <a:rPr lang="en-US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569773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180013" y="0"/>
            <a:ext cx="3962400" cy="342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cs-CZ"/>
              <a:t>1.7.2013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290763" y="512763"/>
            <a:ext cx="4562475" cy="2566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14400" y="3251200"/>
            <a:ext cx="7315200" cy="308133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180013" y="6502400"/>
            <a:ext cx="3962400" cy="341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r>
              <a:rPr lang="cs-CZ"/>
              <a:t>‹#›</a:t>
            </a: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EBD1989-80A6-4526-B6CA-3DFDBBCC42D0}" type="slidenum">
              <a:rPr lang="en-US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52274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g54dda1946d_6_3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91" name="Google Shape;491;g54dda1946d_6_3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endParaRPr lang="en-US">
              <a:cs typeface="Calibri"/>
            </a:endParaRPr>
          </a:p>
          <a:p>
            <a:endParaRPr lang="en-US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7788149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1" name="Google Shape;451;gd431007ba2_0_21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52" name="Google Shape;452;gd431007ba2_0_21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>
                <a:prstClr val="black"/>
              </a:buClr>
              <a:buSzPts val="1100"/>
            </a:pPr>
            <a:endParaRPr lang="en-US" dirty="0">
              <a:ea typeface="Calibri"/>
              <a:cs typeface="Calibri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g54dda1946d_6_33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491" name="Google Shape;491;g54dda1946d_6_33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ea typeface="Calibri"/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idx="12"/>
          </p:nvPr>
        </p:nvSpPr>
        <p:spPr/>
        <p:txBody>
          <a:bodyPr/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t>24</a:t>
            </a:fld>
            <a:endParaRPr lang="en-US" sz="12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1106439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1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2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2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1.jpe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2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2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2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/Relationships>
</file>

<file path=ppt/slideLayouts/_rels/slideLayout2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2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2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jpe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4.bin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3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2.xml"/></Relationships>
</file>

<file path=ppt/slideLayouts/_rels/slideLayout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2.xml"/></Relationships>
</file>

<file path=ppt/slideLayouts/_rels/slideLayout3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2.xml"/></Relationships>
</file>

<file path=ppt/slideLayouts/_rels/slideLayout3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2.xml"/></Relationships>
</file>

<file path=ppt/slideLayouts/_rels/slideLayout3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2.xml"/></Relationships>
</file>

<file path=ppt/slideLayouts/_rels/slideLayout3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3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3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3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3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3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3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2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4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4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2.xml"/></Relationships>
</file>

<file path=ppt/slideLayouts/_rels/slideLayout4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4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4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Master" Target="../slideMasters/slideMaster2.xml"/></Relationships>
</file>

<file path=ppt/slideLayouts/_rels/slideLayout4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/Relationships>
</file>

<file path=ppt/slideLayouts/_rels/slideLayout4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4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4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2.xml"/></Relationships>
</file>

<file path=ppt/slideLayouts/_rels/slideLayout4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2.xml"/></Relationships>
</file>

<file path=ppt/slideLayouts/_rels/slideLayout4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2.xml"/></Relationships>
</file>

<file path=ppt/slideLayouts/_rels/slideLayout4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6" Type="http://schemas.openxmlformats.org/officeDocument/2006/relationships/image" Target="../media/image40.emf"/><Relationship Id="rId5" Type="http://schemas.openxmlformats.org/officeDocument/2006/relationships/image" Target="../media/image39.emf"/><Relationship Id="rId4" Type="http://schemas.openxmlformats.org/officeDocument/2006/relationships/image" Target="../media/image38.emf"/></Relationships>
</file>

<file path=ppt/slideLayouts/_rels/slideLayout4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1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8.bin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slideMaster" Target="../slideMasters/slideMaster2.xml"/></Relationships>
</file>

<file path=ppt/slideLayouts/_rels/slideLayout4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2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2.xml"/></Relationships>
</file>

<file path=ppt/slideLayouts/_rels/slideLayout4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2.xml"/></Relationships>
</file>

<file path=ppt/slideLayouts/_rels/slideLayout4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4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7.png"/><Relationship Id="rId1" Type="http://schemas.openxmlformats.org/officeDocument/2006/relationships/slideMaster" Target="../slideMasters/slideMaster2.xml"/></Relationships>
</file>

<file path=ppt/slideLayouts/_rels/slideLayout4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Master" Target="../slideMasters/slideMaster2.xml"/></Relationships>
</file>

<file path=ppt/slideLayouts/_rels/slideLayout4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9.png"/><Relationship Id="rId1" Type="http://schemas.openxmlformats.org/officeDocument/2006/relationships/slideMaster" Target="../slideMasters/slideMaster2.xml"/></Relationships>
</file>

<file path=ppt/slideLayouts/_rels/slideLayout4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60.png"/><Relationship Id="rId1" Type="http://schemas.openxmlformats.org/officeDocument/2006/relationships/slideMaster" Target="../slideMasters/slideMaster2.xml"/></Relationships>
</file>

<file path=ppt/slideLayouts/_rels/slideLayout4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Master" Target="../slideMasters/slideMaster2.xml"/></Relationships>
</file>

<file path=ppt/slideLayouts/_rels/slideLayout4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46.jpe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oleObject" Target="../embeddings/oleObject11.bin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0.bin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4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4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5.xml"/></Relationships>
</file>

<file path=ppt/slideLayouts/_rels/slideLayout4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4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4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4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slideMaster" Target="../slideMasters/slideMaster2.xml"/></Relationships>
</file>

<file path=ppt/slideLayouts/_rels/slideLayout4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2.xml"/></Relationships>
</file>

<file path=ppt/slideLayouts/_rels/slideLayout4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2.xml"/></Relationships>
</file>

<file path=ppt/slideLayouts/_rels/slideLayout4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2.xml"/></Relationships>
</file>

<file path=ppt/slideLayouts/_rels/slideLayout4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image" Target="../media/image71.png"/><Relationship Id="rId1" Type="http://schemas.openxmlformats.org/officeDocument/2006/relationships/slideMaster" Target="../slideMasters/slideMaster2.xml"/></Relationships>
</file>

<file path=ppt/slideLayouts/_rels/slideLayout4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2.xml"/></Relationships>
</file>

<file path=ppt/slideLayouts/_rels/slideLayout4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4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3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5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png"/><Relationship Id="rId1" Type="http://schemas.openxmlformats.org/officeDocument/2006/relationships/slideMaster" Target="../slideMasters/slideMaster2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5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_rels/slideLayout5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5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5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Master" Target="../slideMasters/slideMaster3.xml"/></Relationships>
</file>

<file path=ppt/slideLayouts/_rels/slideLayout5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5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5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5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5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5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5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5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5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5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6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.xml"/></Relationships>
</file>

<file path=ppt/slideLayouts/_rels/slideLayout6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/Relationships>
</file>

<file path=ppt/slideLayouts/_rels/slideLayout6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6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png"/><Relationship Id="rId1" Type="http://schemas.openxmlformats.org/officeDocument/2006/relationships/slideMaster" Target="../slideMasters/slideMaster3.xml"/></Relationships>
</file>

<file path=ppt/slideLayouts/_rels/slideLayout6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3.xml"/></Relationships>
</file>

<file path=ppt/slideLayouts/_rels/slideLayout6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3.xml"/></Relationships>
</file>

<file path=ppt/slideLayouts/_rels/slideLayout6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3.xml"/></Relationships>
</file>

<file path=ppt/slideLayouts/_rels/slideLayout6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Master" Target="../slideMasters/slideMaster3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png"/><Relationship Id="rId1" Type="http://schemas.openxmlformats.org/officeDocument/2006/relationships/slideMaster" Target="../slideMasters/slideMaster3.xml"/></Relationships>
</file>

<file path=ppt/slideLayouts/_rels/slideLayout6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3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3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3.xml"/></Relationships>
</file>

<file path=ppt/slideLayouts/_rels/slideLayout6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Master" Target="../slideMasters/slideMaster3.xml"/></Relationships>
</file>

<file path=ppt/slideLayouts/_rels/slideLayout6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3.xml"/></Relationships>
</file>

<file path=ppt/slideLayouts/_rels/slideLayout6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6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6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3.xml"/></Relationships>
</file>

<file path=ppt/slideLayouts/_rels/slideLayout6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6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6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png"/><Relationship Id="rId2" Type="http://schemas.openxmlformats.org/officeDocument/2006/relationships/image" Target="../media/image78.png"/><Relationship Id="rId1" Type="http://schemas.openxmlformats.org/officeDocument/2006/relationships/slideMaster" Target="../slideMasters/slideMaster3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3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6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6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6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3.xml"/></Relationships>
</file>

<file path=ppt/slideLayouts/_rels/slideLayout7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3.xml.rels><?xml version="1.0" encoding="UTF-8" standalone="yes"?>
<Relationships xmlns="http://schemas.openxmlformats.org/package/2006/relationships"><Relationship Id="rId3" Type="http://schemas.openxmlformats.org/officeDocument/2006/relationships/hyperlink" Target="http://bit.ly/2TyoMsr" TargetMode="External"/><Relationship Id="rId2" Type="http://schemas.openxmlformats.org/officeDocument/2006/relationships/hyperlink" Target="https://bit.ly/3A1uf1Q" TargetMode="External"/><Relationship Id="rId1" Type="http://schemas.openxmlformats.org/officeDocument/2006/relationships/slideMaster" Target="../slideMasters/slideMaster4.xml"/><Relationship Id="rId4" Type="http://schemas.openxmlformats.org/officeDocument/2006/relationships/hyperlink" Target="http://bit.ly/2TtBDfr" TargetMode="Externa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svg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svg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3249338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6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4528005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6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4843481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847930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5592603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85636675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794065546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7501661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9242777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954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57271009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6243037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88036761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234211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4054778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405277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5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4786297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7687718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0889900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61075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3984267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0469885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6120183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7553818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84537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901630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11840102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0006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436486368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070544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97796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227465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87739039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9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8020355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9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220884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29070028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9649185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48626561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76538025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2484767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364941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49361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424913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3437552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25832855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0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2938656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0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26573187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743182943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985414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8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1998685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7839732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024431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5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285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76033178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1959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9329078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6941429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6322304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93694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258950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53485271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4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95870651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4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28825244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992380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6218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6385201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943896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3871782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569449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3350505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99849130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81159562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972729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925165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41926387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8666927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0922533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584172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59617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4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1631518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845267698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175297497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3217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77402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83459419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7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35631527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7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401317895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100288109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637610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6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892886451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15937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3550571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7704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857427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5471929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58278594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9404483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47842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9098044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94527636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8021461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998958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5864542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828230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04982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795372134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828020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648628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6122543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62054694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05529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090535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921214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2419209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58044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6" y="5400857"/>
            <a:ext cx="8178613" cy="37965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6" y="1807152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4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9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2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6" y="3447400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5" y="4178330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5276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9666298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656760714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649411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428475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8702167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9980540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2049333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67497762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4355322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001456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66188074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8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19786099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8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69168792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58112831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3635138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72360139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9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1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3" y="1806430"/>
            <a:ext cx="10189827" cy="2278211"/>
          </a:xfrm>
        </p:spPr>
        <p:txBody>
          <a:bodyPr anchor="b"/>
          <a:lstStyle>
            <a:lvl1pPr marL="0" indent="0">
              <a:defRPr sz="5334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0486813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7079294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0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978379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5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5494103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5532739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82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82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82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82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91076637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40902241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142010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920056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38803846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46898753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15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28347992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4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3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15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29018680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287509848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113001559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30117215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10091495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1459978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1682188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98148766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5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2224325"/>
      </p:ext>
    </p:extLst>
  </p:cSld>
  <p:clrMapOvr>
    <a:masterClrMapping/>
  </p:clrMapOvr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bg object 17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/>
          </a:p>
        </p:txBody>
      </p:sp>
      <p:pic>
        <p:nvPicPr>
          <p:cNvPr id="20" name="bg object 20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3956" y="5564123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5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0">
              <a:lnSpc>
                <a:spcPts val="1425"/>
              </a:lnSpc>
            </a:pPr>
            <a:fld id="{81D60167-4931-47E6-BA6A-407CBD079E47}" type="slidenum">
              <a:rPr spc="-5" dirty="0">
                <a:solidFill>
                  <a:srgbClr val="929599"/>
                </a:solidFill>
              </a:rPr>
              <a:t>‹#›</a:t>
            </a:fld>
            <a:endParaRPr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7904224"/>
      </p:ext>
    </p:extLst>
  </p:cSld>
  <p:clrMapOvr>
    <a:masterClrMapping/>
  </p:clrMapOvr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37652033"/>
      </p:ext>
    </p:extLst>
  </p:cSld>
  <p:clrMapOvr>
    <a:masterClrMapping/>
  </p:clrMapOvr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732483557"/>
      </p:ext>
    </p:extLst>
  </p:cSld>
  <p:clrMapOvr>
    <a:masterClrMapping/>
  </p:clrMapOvr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343926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1578072"/>
      </p:ext>
    </p:extLst>
  </p:cSld>
  <p:clrMapOvr>
    <a:masterClrMapping/>
  </p:clrMapOvr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96344"/>
      </p:ext>
    </p:extLst>
  </p:cSld>
  <p:clrMapOvr>
    <a:masterClrMapping/>
  </p:clrMapOvr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7496322"/>
      </p:ext>
    </p:extLst>
  </p:cSld>
  <p:clrMapOvr>
    <a:masterClrMapping/>
  </p:clrMapOvr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847879164"/>
      </p:ext>
    </p:extLst>
  </p:cSld>
  <p:clrMapOvr>
    <a:masterClrMapping/>
  </p:clrMapOvr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9302691"/>
      </p:ext>
    </p:extLst>
  </p:cSld>
  <p:clrMapOvr>
    <a:masterClrMapping/>
  </p:clrMapOvr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35420318"/>
      </p:ext>
    </p:extLst>
  </p:cSld>
  <p:clrMapOvr>
    <a:masterClrMapping/>
  </p:clrMapOvr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665852557"/>
      </p:ext>
    </p:extLst>
  </p:cSld>
  <p:clrMapOvr>
    <a:masterClrMapping/>
  </p:clrMapOvr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228292"/>
      </p:ext>
    </p:extLst>
  </p:cSld>
  <p:clrMapOvr>
    <a:masterClrMapping/>
  </p:clrMapOvr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38240366"/>
      </p:ext>
    </p:extLst>
  </p:cSld>
  <p:clrMapOvr>
    <a:masterClrMapping/>
  </p:clrMapOvr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630080"/>
      </p:ext>
    </p:extLst>
  </p:cSld>
  <p:clrMapOvr>
    <a:masterClrMapping/>
  </p:clrMapOvr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567606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9854312"/>
      </p:ext>
    </p:extLst>
  </p:cSld>
  <p:clrMapOvr>
    <a:masterClrMapping/>
  </p:clrMapOvr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132318659"/>
      </p:ext>
    </p:extLst>
  </p:cSld>
  <p:clrMapOvr>
    <a:masterClrMapping/>
  </p:clrMapOvr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04194"/>
      </p:ext>
    </p:extLst>
  </p:cSld>
  <p:clrMapOvr>
    <a:masterClrMapping/>
  </p:clrMapOvr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3420"/>
      </p:ext>
    </p:extLst>
  </p:cSld>
  <p:clrMapOvr>
    <a:masterClrMapping/>
  </p:clrMapOvr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8949313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3" name="Google Shape;43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4" name="Google Shape;44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" name="Google Shape;45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6" name="Google Shape;46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" name="Google Shape;47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" name="Google Shape;48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" name="Google Shape;49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" name="Google Shape;50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" name="Google Shape;51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2" name="Google Shape;52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872652782"/>
      </p:ext>
    </p:extLst>
  </p:cSld>
  <p:clrMapOvr>
    <a:masterClrMapping/>
  </p:clrMapOvr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B5EF7A9-934F-4AEF-9B1F-6C2A2A939180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6ACA920-F5E0-407F-80F6-F6490A51C58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83658486"/>
      </p:ext>
    </p:extLst>
  </p:cSld>
  <p:clrMapOvr>
    <a:masterClrMapping/>
  </p:clrMapOvr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3035621"/>
      </p:ext>
    </p:extLst>
  </p:cSld>
  <p:clrMapOvr>
    <a:masterClrMapping/>
  </p:clrMapOvr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644005"/>
      </p:ext>
    </p:extLst>
  </p:cSld>
  <p:clrMapOvr>
    <a:masterClrMapping/>
  </p:clrMapOvr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34488667"/>
      </p:ext>
    </p:extLst>
  </p:cSld>
  <p:clrMapOvr>
    <a:masterClrMapping/>
  </p:clrMapOvr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</p:spPr>
        <p:txBody>
          <a:bodyPr/>
          <a:lstStyle>
            <a:lvl1pPr marL="380990" indent="-380990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496501"/>
      </p:ext>
    </p:extLst>
  </p:cSld>
  <p:clrMapOvr>
    <a:masterClrMapping/>
  </p:clrMapOvr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1410130633"/>
      </p:ext>
    </p:extLst>
  </p:cSld>
  <p:clrMapOvr>
    <a:masterClrMapping/>
  </p:clrMapOvr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8059872"/>
      </p:ext>
    </p:extLst>
  </p:cSld>
  <p:clrMapOvr>
    <a:masterClrMapping/>
  </p:clrMapOvr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_Yal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5" hasCustomPrompt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r">
              <a:buNone/>
              <a:defRPr sz="1867" baseline="0">
                <a:solidFill>
                  <a:srgbClr val="616364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Date | Presenter Information (14 </a:t>
            </a:r>
            <a:r>
              <a:rPr lang="en-US" err="1"/>
              <a:t>pt</a:t>
            </a:r>
            <a:r>
              <a:rPr lang="en-US"/>
              <a:t>)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</p:spPr>
        <p:txBody>
          <a:bodyPr anchor="b"/>
          <a:lstStyle>
            <a:lvl1pPr algn="l">
              <a:defRPr sz="5333" b="1" i="0" baseline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Presentation Title (40pt)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532A70-E035-AA47-9734-5D07D7BBF15C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A5C1C5-BCFD-E74C-BB4D-B3A564E128BA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12">
            <a:extLst>
              <a:ext uri="{FF2B5EF4-FFF2-40B4-BE49-F238E27FC236}">
                <a16:creationId xmlns:a16="http://schemas.microsoft.com/office/drawing/2014/main" id="{F5B886B3-8C49-D741-A041-118D116EDF7B}"/>
              </a:ext>
            </a:extLst>
          </p:cNvPr>
          <p:cNvSpPr/>
          <p:nvPr userDrawn="1"/>
        </p:nvSpPr>
        <p:spPr>
          <a:xfrm rot="10800000">
            <a:off x="1" y="2000248"/>
            <a:ext cx="2785068" cy="2042851"/>
          </a:xfrm>
          <a:custGeom>
            <a:avLst/>
            <a:gdLst>
              <a:gd name="connsiteX0" fmla="*/ 0 w 9564547"/>
              <a:gd name="connsiteY0" fmla="*/ 0 h 1031872"/>
              <a:gd name="connsiteX1" fmla="*/ 9564547 w 9564547"/>
              <a:gd name="connsiteY1" fmla="*/ 0 h 1031872"/>
              <a:gd name="connsiteX2" fmla="*/ 9564547 w 9564547"/>
              <a:gd name="connsiteY2" fmla="*/ 1031872 h 1031872"/>
              <a:gd name="connsiteX3" fmla="*/ 0 w 9564547"/>
              <a:gd name="connsiteY3" fmla="*/ 1031872 h 1031872"/>
              <a:gd name="connsiteX4" fmla="*/ 0 w 9564547"/>
              <a:gd name="connsiteY4" fmla="*/ 0 h 1031872"/>
              <a:gd name="connsiteX0" fmla="*/ 729205 w 10293752"/>
              <a:gd name="connsiteY0" fmla="*/ 0 h 1031872"/>
              <a:gd name="connsiteX1" fmla="*/ 10293752 w 10293752"/>
              <a:gd name="connsiteY1" fmla="*/ 0 h 1031872"/>
              <a:gd name="connsiteX2" fmla="*/ 10293752 w 10293752"/>
              <a:gd name="connsiteY2" fmla="*/ 1031872 h 1031872"/>
              <a:gd name="connsiteX3" fmla="*/ 0 w 10293752"/>
              <a:gd name="connsiteY3" fmla="*/ 1020297 h 1031872"/>
              <a:gd name="connsiteX4" fmla="*/ 729205 w 10293752"/>
              <a:gd name="connsiteY4" fmla="*/ 0 h 1031872"/>
              <a:gd name="connsiteX0" fmla="*/ 729205 w 10293752"/>
              <a:gd name="connsiteY0" fmla="*/ 0 h 1043446"/>
              <a:gd name="connsiteX1" fmla="*/ 10293752 w 10293752"/>
              <a:gd name="connsiteY1" fmla="*/ 0 h 1043446"/>
              <a:gd name="connsiteX2" fmla="*/ 10293752 w 10293752"/>
              <a:gd name="connsiteY2" fmla="*/ 1031872 h 1043446"/>
              <a:gd name="connsiteX3" fmla="*/ 0 w 10293752"/>
              <a:gd name="connsiteY3" fmla="*/ 1043446 h 1043446"/>
              <a:gd name="connsiteX4" fmla="*/ 729205 w 10293752"/>
              <a:gd name="connsiteY4" fmla="*/ 0 h 1043446"/>
              <a:gd name="connsiteX0" fmla="*/ 740779 w 10305326"/>
              <a:gd name="connsiteY0" fmla="*/ 0 h 1055021"/>
              <a:gd name="connsiteX1" fmla="*/ 10305326 w 10305326"/>
              <a:gd name="connsiteY1" fmla="*/ 0 h 1055021"/>
              <a:gd name="connsiteX2" fmla="*/ 10305326 w 10305326"/>
              <a:gd name="connsiteY2" fmla="*/ 1031872 h 1055021"/>
              <a:gd name="connsiteX3" fmla="*/ 0 w 10305326"/>
              <a:gd name="connsiteY3" fmla="*/ 1055021 h 1055021"/>
              <a:gd name="connsiteX4" fmla="*/ 740779 w 10305326"/>
              <a:gd name="connsiteY4" fmla="*/ 0 h 1055021"/>
              <a:gd name="connsiteX0" fmla="*/ 729204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729204 w 10293751"/>
              <a:gd name="connsiteY4" fmla="*/ 0 h 1031872"/>
              <a:gd name="connsiteX0" fmla="*/ 2057270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057270 w 10293751"/>
              <a:gd name="connsiteY4" fmla="*/ 0 h 1031872"/>
              <a:gd name="connsiteX0" fmla="*/ 2673873 w 10293751"/>
              <a:gd name="connsiteY0" fmla="*/ 0 h 1031872"/>
              <a:gd name="connsiteX1" fmla="*/ 10293751 w 10293751"/>
              <a:gd name="connsiteY1" fmla="*/ 0 h 1031872"/>
              <a:gd name="connsiteX2" fmla="*/ 10293751 w 10293751"/>
              <a:gd name="connsiteY2" fmla="*/ 1031872 h 1031872"/>
              <a:gd name="connsiteX3" fmla="*/ 0 w 10293751"/>
              <a:gd name="connsiteY3" fmla="*/ 1031871 h 1031872"/>
              <a:gd name="connsiteX4" fmla="*/ 2673873 w 10293751"/>
              <a:gd name="connsiteY4" fmla="*/ 0 h 1031872"/>
              <a:gd name="connsiteX0" fmla="*/ 3432769 w 10293751"/>
              <a:gd name="connsiteY0" fmla="*/ 0 h 1055022"/>
              <a:gd name="connsiteX1" fmla="*/ 10293751 w 10293751"/>
              <a:gd name="connsiteY1" fmla="*/ 23150 h 1055022"/>
              <a:gd name="connsiteX2" fmla="*/ 10293751 w 10293751"/>
              <a:gd name="connsiteY2" fmla="*/ 1055022 h 1055022"/>
              <a:gd name="connsiteX3" fmla="*/ 0 w 10293751"/>
              <a:gd name="connsiteY3" fmla="*/ 1055021 h 1055022"/>
              <a:gd name="connsiteX4" fmla="*/ 3432769 w 10293751"/>
              <a:gd name="connsiteY4" fmla="*/ 0 h 1055022"/>
              <a:gd name="connsiteX0" fmla="*/ 3100752 w 10293751"/>
              <a:gd name="connsiteY0" fmla="*/ 0 h 1043448"/>
              <a:gd name="connsiteX1" fmla="*/ 10293751 w 10293751"/>
              <a:gd name="connsiteY1" fmla="*/ 11576 h 1043448"/>
              <a:gd name="connsiteX2" fmla="*/ 10293751 w 10293751"/>
              <a:gd name="connsiteY2" fmla="*/ 1043448 h 1043448"/>
              <a:gd name="connsiteX3" fmla="*/ 0 w 10293751"/>
              <a:gd name="connsiteY3" fmla="*/ 1043447 h 1043448"/>
              <a:gd name="connsiteX4" fmla="*/ 3100752 w 10293751"/>
              <a:gd name="connsiteY4" fmla="*/ 0 h 1043448"/>
              <a:gd name="connsiteX0" fmla="*/ 3100752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100752 w 10293751"/>
              <a:gd name="connsiteY4" fmla="*/ 0 h 1031873"/>
              <a:gd name="connsiteX0" fmla="*/ 3579068 w 10293751"/>
              <a:gd name="connsiteY0" fmla="*/ 0 h 1031873"/>
              <a:gd name="connsiteX1" fmla="*/ 10293751 w 10293751"/>
              <a:gd name="connsiteY1" fmla="*/ 1 h 1031873"/>
              <a:gd name="connsiteX2" fmla="*/ 10293751 w 10293751"/>
              <a:gd name="connsiteY2" fmla="*/ 1031873 h 1031873"/>
              <a:gd name="connsiteX3" fmla="*/ 0 w 10293751"/>
              <a:gd name="connsiteY3" fmla="*/ 1031872 h 1031873"/>
              <a:gd name="connsiteX4" fmla="*/ 3579068 w 10293751"/>
              <a:gd name="connsiteY4" fmla="*/ 0 h 10318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93751" h="1031873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6AED7014-B2AA-DB40-863A-452745F507E6}"/>
              </a:ext>
            </a:extLst>
          </p:cNvPr>
          <p:cNvSpPr/>
          <p:nvPr userDrawn="1"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 b="0" i="0">
                <a:solidFill>
                  <a:srgbClr val="00314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Subtitle (24)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D45773D2-6F75-8443-B3A1-EAC994FA80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320368"/>
      </p:ext>
    </p:extLst>
  </p:cSld>
  <p:clrMapOvr>
    <a:masterClrMapping/>
  </p:clrMapOvr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238912"/>
      </p:ext>
    </p:extLst>
  </p:cSld>
  <p:clrMapOvr>
    <a:masterClrMapping/>
  </p:clrMapOvr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7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6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pic>
        <p:nvPicPr>
          <p:cNvPr id="8" name="Picture 13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Group 11"/>
          <p:cNvGrpSpPr>
            <a:grpSpLocks/>
          </p:cNvGrpSpPr>
          <p:nvPr userDrawn="1"/>
        </p:nvGrpSpPr>
        <p:grpSpPr bwMode="auto"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0" name="Rectangle 9"/>
            <p:cNvSpPr/>
            <p:nvPr userDrawn="1"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/>
            <a:lstStyle/>
            <a:p>
              <a:pPr>
                <a:defRPr/>
              </a:pPr>
              <a:endParaRPr lang="en-US" sz="2400"/>
            </a:p>
          </p:txBody>
        </p:sp>
        <p:pic>
          <p:nvPicPr>
            <p:cNvPr id="11" name="Picture 7"/>
            <p:cNvPicPr>
              <a:picLocks noChangeAspect="1"/>
            </p:cNvPicPr>
            <p:nvPr userDrawn="1"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7219" t="16937" r="72250" b="20589"/>
            <a:stretch>
              <a:fillRect/>
            </a:stretch>
          </p:blipFill>
          <p:spPr bwMode="auto"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29" name="Subtitle 2"/>
          <p:cNvSpPr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r>
              <a:rPr lang="en-US" altLang="en-US"/>
              <a:t>Click to edit Master subtitle style</a:t>
            </a:r>
          </a:p>
        </p:txBody>
      </p:sp>
      <p:sp>
        <p:nvSpPr>
          <p:cNvPr id="30" name="Title 1"/>
          <p:cNvSpPr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</p:spPr>
        <p:txBody>
          <a:bodyPr anchor="b"/>
          <a:lstStyle>
            <a:lvl1pPr marL="0" indent="0">
              <a:defRPr sz="5333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1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2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</p:spPr>
        <p:txBody>
          <a:bodyPr/>
          <a:lstStyle>
            <a:lvl1pPr>
              <a:defRPr sz="1867"/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3753234"/>
      </p:ext>
    </p:extLst>
  </p:cSld>
  <p:clrMapOvr>
    <a:masterClrMapping/>
  </p:clrMapOvr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</p:spPr>
        <p:txBody>
          <a:bodyPr/>
          <a:lstStyle>
            <a:lvl1pPr marL="380990" indent="-380990">
              <a:buFont typeface="Wingdings" panose="05000000000000000000" pitchFamily="2" charset="2"/>
              <a:buChar char="§"/>
              <a:defRPr sz="1867" b="1"/>
            </a:lvl1pPr>
            <a:lvl2pPr marL="609585" indent="-296326">
              <a:buFont typeface="Arial" panose="020B0604020202020204" pitchFamily="34" charset="0"/>
              <a:buChar char="̶"/>
              <a:defRPr sz="1867"/>
            </a:lvl2pPr>
            <a:lvl3pPr marL="922844" indent="-313259">
              <a:buFont typeface="Arial" panose="020B0604020202020204" pitchFamily="34" charset="0"/>
              <a:buChar char="•"/>
              <a:defRPr sz="1867"/>
            </a:lvl3pPr>
            <a:lvl4pPr marL="1219170" indent="-296326">
              <a:buFont typeface="Wingdings" panose="05000000000000000000" pitchFamily="2" charset="2"/>
              <a:buChar char="ü"/>
              <a:defRPr sz="1867"/>
            </a:lvl4pPr>
            <a:lvl5pPr marL="1532428" indent="-313259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1" y="5969000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0479694"/>
      </p:ext>
    </p:extLst>
  </p:cSld>
  <p:clrMapOvr>
    <a:masterClrMapping/>
  </p:clrMapOvr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2020187"/>
      </p:ext>
    </p:extLst>
  </p:cSld>
  <p:clrMapOvr>
    <a:masterClrMapping/>
  </p:clrMapOvr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" y="762"/>
            <a:ext cx="12189292" cy="685647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Slide Heading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38200" y="1825629"/>
            <a:ext cx="10515600" cy="4016375"/>
          </a:xfrm>
        </p:spPr>
        <p:txBody>
          <a:bodyPr/>
          <a:lstStyle>
            <a:lvl1pPr>
              <a:defRPr/>
            </a:lvl1pPr>
            <a:lvl2pPr>
              <a:defRPr/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25634235"/>
      </p:ext>
    </p:extLst>
  </p:cSld>
  <p:clrMapOvr>
    <a:masterClrMapping/>
  </p:clrMapOvr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3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6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2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84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680660955"/>
      </p:ext>
    </p:extLst>
  </p:cSld>
  <p:clrMapOvr>
    <a:masterClrMapping/>
  </p:clrMapOvr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76446740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81955522"/>
      </p:ext>
    </p:extLst>
  </p:cSld>
  <p:clrMapOvr>
    <a:masterClrMapping/>
  </p:clrMapOvr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0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45677796"/>
      </p:ext>
    </p:extLst>
  </p:cSld>
  <p:clrMapOvr>
    <a:masterClrMapping/>
  </p:clrMapOvr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Bull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1" y="783846"/>
            <a:ext cx="10177757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48785" y="1615018"/>
            <a:ext cx="10176933" cy="3812116"/>
          </a:xfrm>
          <a:prstGeom prst="rect">
            <a:avLst/>
          </a:prstGeom>
        </p:spPr>
        <p:txBody>
          <a:bodyPr/>
          <a:lstStyle>
            <a:lvl1pPr marL="381009" indent="-381009">
              <a:buFont typeface="Arial" panose="020B0604020202020204" pitchFamily="34" charset="0"/>
              <a:buChar char="•"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2133">
                <a:latin typeface="Verdana" charset="0"/>
                <a:ea typeface="Verdana" charset="0"/>
                <a:cs typeface="Verdana" charset="0"/>
              </a:defRPr>
            </a:lvl2pPr>
            <a:lvl3pPr>
              <a:defRPr sz="2133">
                <a:latin typeface="Verdana" charset="0"/>
                <a:ea typeface="Verdana" charset="0"/>
                <a:cs typeface="Verdana" charset="0"/>
              </a:defRPr>
            </a:lvl3pPr>
            <a:lvl4pPr>
              <a:defRPr sz="2133">
                <a:latin typeface="Verdana" charset="0"/>
                <a:ea typeface="Verdana" charset="0"/>
                <a:cs typeface="Verdana" charset="0"/>
              </a:defRPr>
            </a:lvl4pPr>
            <a:lvl5pPr>
              <a:defRPr sz="2133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lvl="0"/>
            <a:r>
              <a:rPr lang="en-US"/>
              <a:t>Copy goes here</a:t>
            </a:r>
          </a:p>
          <a:p>
            <a:pPr lvl="0"/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F971B31-57A8-E440-A02E-BFAC023C30A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3011711"/>
      </p:ext>
    </p:extLst>
  </p:cSld>
  <p:clrMapOvr>
    <a:masterClrMapping/>
  </p:clrMapOvr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C7C0297A-27A4-6847-86E1-31452C2EFFC8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48990" y="806857"/>
            <a:ext cx="10156179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 hasCustomPrompt="1"/>
          </p:nvPr>
        </p:nvSpPr>
        <p:spPr>
          <a:xfrm>
            <a:off x="848990" y="1637854"/>
            <a:ext cx="10156179" cy="4117159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aseline="0">
                <a:latin typeface="Verdana" charset="0"/>
                <a:ea typeface="Verdana" charset="0"/>
                <a:cs typeface="Verdana" charset="0"/>
              </a:defRPr>
            </a:lvl1pPr>
            <a:lvl2pPr>
              <a:defRPr sz="1867">
                <a:latin typeface="Verdana" charset="0"/>
                <a:ea typeface="Verdana" charset="0"/>
                <a:cs typeface="Verdana" charset="0"/>
              </a:defRPr>
            </a:lvl2pPr>
            <a:lvl3pPr>
              <a:defRPr sz="1867">
                <a:latin typeface="Verdana" charset="0"/>
                <a:ea typeface="Verdana" charset="0"/>
                <a:cs typeface="Verdana" charset="0"/>
              </a:defRPr>
            </a:lvl3pPr>
            <a:lvl4pPr>
              <a:defRPr sz="1867">
                <a:latin typeface="Verdana" charset="0"/>
                <a:ea typeface="Verdana" charset="0"/>
                <a:cs typeface="Verdana" charset="0"/>
              </a:defRPr>
            </a:lvl4pPr>
            <a:lvl5pPr>
              <a:defRPr sz="1867"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</p:spTree>
    <p:extLst>
      <p:ext uri="{BB962C8B-B14F-4D97-AF65-F5344CB8AC3E}">
        <p14:creationId xmlns:p14="http://schemas.microsoft.com/office/powerpoint/2010/main" val="3336372206"/>
      </p:ext>
    </p:extLst>
  </p:cSld>
  <p:clrMapOvr>
    <a:masterClrMapping/>
  </p:clrMapOvr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9_Two Section | Picture and Copy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DC6A398F-399D-6046-96E4-CB78EEB98E17}"/>
              </a:ext>
            </a:extLst>
          </p:cNvPr>
          <p:cNvSpPr/>
          <p:nvPr/>
        </p:nvSpPr>
        <p:spPr>
          <a:xfrm>
            <a:off x="0" y="6313118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58C0E9E-5FF9-814A-A5B3-9292D33A0644}"/>
              </a:ext>
            </a:extLst>
          </p:cNvPr>
          <p:cNvSpPr/>
          <p:nvPr/>
        </p:nvSpPr>
        <p:spPr>
          <a:xfrm>
            <a:off x="0" y="6301515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1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1186832" y="1294453"/>
            <a:ext cx="3983336" cy="378808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00" b="0" i="1" baseline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lvl="0"/>
            <a:r>
              <a:rPr lang="en-US"/>
              <a:t>*Insert Image Her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5549395" y="1997128"/>
            <a:ext cx="5466561" cy="3085413"/>
          </a:xfrm>
          <a:prstGeom prst="rect">
            <a:avLst/>
          </a:prstGeom>
        </p:spPr>
        <p:txBody>
          <a:bodyPr/>
          <a:lstStyle>
            <a:lvl1pPr marL="0" marR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133" b="0" baseline="0">
                <a:solidFill>
                  <a:schemeClr val="tx1"/>
                </a:solidFill>
                <a:latin typeface="Verdana" charset="0"/>
                <a:ea typeface="Verdana" charset="0"/>
                <a:cs typeface="Verdana" charset="0"/>
              </a:defRPr>
            </a:lvl1pPr>
            <a:lvl2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2pPr>
            <a:lvl3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3pPr>
            <a:lvl4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4pPr>
            <a:lvl5pPr>
              <a:defRPr sz="1867" b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5pPr>
          </a:lstStyle>
          <a:p>
            <a:pPr marL="0" marR="0" lvl="0" indent="0" algn="l" defTabSz="914423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Copy goes here. </a:t>
            </a:r>
          </a:p>
        </p:txBody>
      </p:sp>
      <p:sp>
        <p:nvSpPr>
          <p:cNvPr id="17" name="Title 16"/>
          <p:cNvSpPr>
            <a:spLocks noGrp="1"/>
          </p:cNvSpPr>
          <p:nvPr>
            <p:ph type="title" hasCustomPrompt="1"/>
          </p:nvPr>
        </p:nvSpPr>
        <p:spPr>
          <a:xfrm>
            <a:off x="5549395" y="1154527"/>
            <a:ext cx="5466561" cy="830997"/>
          </a:xfrm>
          <a:prstGeom prst="rect">
            <a:avLst/>
          </a:prstGeom>
        </p:spPr>
        <p:txBody>
          <a:bodyPr wrap="square" anchor="b" anchorCtr="0">
            <a:spAutoFit/>
          </a:bodyPr>
          <a:lstStyle>
            <a:lvl1pPr>
              <a:defRPr sz="4800" b="1" i="0">
                <a:solidFill>
                  <a:srgbClr val="003B5C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/>
              <a:t>Headlin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B203E0B-1FAC-F64F-A8A3-54937D9BF5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2031328"/>
      </p:ext>
    </p:extLst>
  </p:cSld>
  <p:clrMapOvr>
    <a:masterClrMapping/>
  </p:clrMapOvr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able of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6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/>
        </p:nvSpPr>
        <p:spPr>
          <a:xfrm>
            <a:off x="-10584" y="6620934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/>
          </a:p>
        </p:txBody>
      </p:sp>
      <p:graphicFrame>
        <p:nvGraphicFramePr>
          <p:cNvPr id="10" name="Objec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10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8" y="2118"/>
                        <a:ext cx="2116" cy="2116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8115" y="224841"/>
            <a:ext cx="11715725" cy="569325"/>
          </a:xfrm>
        </p:spPr>
        <p:txBody>
          <a:bodyPr/>
          <a:lstStyle>
            <a:lvl1pPr>
              <a:defRPr sz="2933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218115" y="917198"/>
            <a:ext cx="11715725" cy="4958671"/>
          </a:xfrm>
          <a:prstGeom prst="rect">
            <a:avLst/>
          </a:prstGeom>
        </p:spPr>
        <p:txBody>
          <a:bodyPr/>
          <a:lstStyle>
            <a:lvl1pPr marL="381009" indent="-381009">
              <a:buFont typeface="Wingdings" panose="05000000000000000000" pitchFamily="2" charset="2"/>
              <a:buChar char="§"/>
              <a:defRPr sz="1867" b="1"/>
            </a:lvl1pPr>
            <a:lvl2pPr marL="609616" indent="-296341">
              <a:buFont typeface="Arial" panose="020B0604020202020204" pitchFamily="34" charset="0"/>
              <a:buChar char="̶"/>
              <a:defRPr sz="1867"/>
            </a:lvl2pPr>
            <a:lvl3pPr marL="922890" indent="-313275">
              <a:buFont typeface="Arial" panose="020B0604020202020204" pitchFamily="34" charset="0"/>
              <a:buChar char="•"/>
              <a:defRPr sz="1867"/>
            </a:lvl3pPr>
            <a:lvl4pPr marL="1219231" indent="-296341">
              <a:buFont typeface="Wingdings" panose="05000000000000000000" pitchFamily="2" charset="2"/>
              <a:buChar char="ü"/>
              <a:defRPr sz="1867"/>
            </a:lvl4pPr>
            <a:lvl5pPr marL="1532505" indent="-313275">
              <a:defRPr sz="1867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58938" y="5969002"/>
            <a:ext cx="8074903" cy="649817"/>
          </a:xfrm>
          <a:prstGeom prst="rect">
            <a:avLst/>
          </a:prstGeom>
        </p:spPr>
        <p:txBody>
          <a:bodyPr anchor="b"/>
          <a:lstStyle>
            <a:lvl1pPr>
              <a:defRPr sz="1333" b="0" baseline="0"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r">
              <a:defRPr sz="1467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fld id="{D9E38BE4-73A9-4CBE-849B-DA886A199D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pic>
        <p:nvPicPr>
          <p:cNvPr id="12" name="Picture 3" descr="M:\Marketing Communication and Referral Access\Luis\newbrand\UCM_logo\master\horizontal\UCM_Logo_Master_Brand_Horizontal_Tagline_rgb.jpg"/>
          <p:cNvPicPr>
            <a:picLocks noChangeAspect="1" noChangeArrowheads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602" y="5969001"/>
            <a:ext cx="3704343" cy="6519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10270537"/>
      </p:ext>
    </p:extLst>
  </p:cSld>
  <p:clrMapOvr>
    <a:masterClrMapping/>
  </p:clrMapOvr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4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4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2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4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6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9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1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33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5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78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B6A3B-6EE5-45FC-B5E7-85EA02CF9438}" type="datetime1">
              <a:rPr lang="en-US" altLang="ja-JP"/>
              <a:pPr>
                <a:defRPr/>
              </a:pPr>
              <a:t>7/15/24</a:t>
            </a:fld>
            <a:endParaRPr lang="en-US" alt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BFBC7D3-7B25-4FDD-856F-1603EF21A3CD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14610509"/>
      </p:ext>
    </p:extLst>
  </p:cSld>
  <p:clrMapOvr>
    <a:masterClrMapping/>
  </p:clrMapOvr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5" y="273052"/>
            <a:ext cx="4011084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5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5" y="1435104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23" indent="0">
              <a:buNone/>
              <a:defRPr sz="1200"/>
            </a:lvl2pPr>
            <a:lvl3pPr marL="914446" indent="0">
              <a:buNone/>
              <a:defRPr sz="1000"/>
            </a:lvl3pPr>
            <a:lvl4pPr marL="1371669" indent="0">
              <a:buNone/>
              <a:defRPr sz="900"/>
            </a:lvl4pPr>
            <a:lvl5pPr marL="1828891" indent="0">
              <a:buNone/>
              <a:defRPr sz="900"/>
            </a:lvl5pPr>
            <a:lvl6pPr marL="2286114" indent="0">
              <a:buNone/>
              <a:defRPr sz="900"/>
            </a:lvl6pPr>
            <a:lvl7pPr marL="2743337" indent="0">
              <a:buNone/>
              <a:defRPr sz="900"/>
            </a:lvl7pPr>
            <a:lvl8pPr marL="3200560" indent="0">
              <a:buNone/>
              <a:defRPr sz="900"/>
            </a:lvl8pPr>
            <a:lvl9pPr marL="3657783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D367D64-CF7F-42F3-8C27-B520EE2453CF}" type="datetime1">
              <a:rPr lang="en-US" altLang="ja-JP"/>
              <a:pPr>
                <a:defRPr/>
              </a:pPr>
              <a:t>7/15/24</a:t>
            </a:fld>
            <a:endParaRPr lang="en-US" alt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C650D0-02D5-42FB-907E-376816E2D54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0515904"/>
      </p:ext>
    </p:extLst>
  </p:cSld>
  <p:clrMapOvr>
    <a:masterClrMapping/>
  </p:clrMapOvr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853644344"/>
      </p:ext>
    </p:extLst>
  </p:cSld>
  <p:clrMapOvr>
    <a:masterClrMapping/>
  </p:clrMapOvr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36_Title and Content">
    <p:spTree>
      <p:nvGrpSpPr>
        <p:cNvPr id="1" name="Shape 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oogle Shape;76;p44"/>
          <p:cNvGrpSpPr/>
          <p:nvPr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7" name="Google Shape;77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" name="Google Shape;78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" name="Google Shape;79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" name="Google Shape;81;p44"/>
          <p:cNvSpPr txBox="1"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2" name="Google Shape;82;p44"/>
          <p:cNvSpPr txBox="1">
            <a:spLocks noGrp="1"/>
          </p:cNvSpPr>
          <p:nvPr>
            <p:ph type="body" idx="1"/>
          </p:nvPr>
        </p:nvSpPr>
        <p:spPr>
          <a:xfrm>
            <a:off x="609600" y="1825626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" name="Google Shape;83;p44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fld id="{00000000-1234-1234-1234-123412341234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4" name="Google Shape;84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" name="Google Shape;85;p44"/>
          <p:cNvSpPr txBox="1">
            <a:spLocks noGrp="1"/>
          </p:cNvSpPr>
          <p:nvPr>
            <p:ph type="ftr" idx="11"/>
          </p:nvPr>
        </p:nvSpPr>
        <p:spPr>
          <a:xfrm>
            <a:off x="609600" y="6356351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38653374"/>
      </p:ext>
    </p:extLst>
  </p:cSld>
  <p:clrMapOvr>
    <a:masterClrMapping/>
  </p:clrMapOvr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22483459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32453738"/>
      </p:ext>
    </p:extLst>
  </p:cSld>
  <p:clrMapOvr>
    <a:masterClrMapping/>
  </p:clrMapOvr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21_Photo Slide">
    <p:spTree>
      <p:nvGrpSpPr>
        <p:cNvPr id="1" name="Shape 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Google Shape;87;p41"/>
          <p:cNvSpPr txBox="1">
            <a:spLocks noGrp="1"/>
          </p:cNvSpPr>
          <p:nvPr>
            <p:ph type="body" idx="1"/>
          </p:nvPr>
        </p:nvSpPr>
        <p:spPr>
          <a:xfrm>
            <a:off x="457200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23" lvl="0" indent="-22861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46" lvl="1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69" lvl="2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91" lvl="3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114" lvl="4" indent="-342917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337" lvl="5" indent="-342917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560" lvl="6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783" lvl="7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5006" lvl="8" indent="-34291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8" name="Google Shape;88;p4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9" name="Google Shape;89;p41"/>
          <p:cNvGrpSpPr/>
          <p:nvPr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90" name="Google Shape;90;p4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1" name="Google Shape;91;p4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2" name="Google Shape;92;p4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93" name="Google Shape;93;p4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543003970"/>
      </p:ext>
    </p:extLst>
  </p:cSld>
  <p:clrMapOvr>
    <a:masterClrMapping/>
  </p:clrMapOvr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26479413"/>
      </p:ext>
    </p:extLst>
  </p:cSld>
  <p:clrMapOvr>
    <a:masterClrMapping/>
  </p:clrMapOvr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75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3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4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2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2489622913"/>
      </p:ext>
    </p:extLst>
  </p:cSld>
  <p:clrMapOvr>
    <a:masterClrMapping/>
  </p:clrMapOvr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9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336188"/>
      </p:ext>
    </p:extLst>
  </p:cSld>
  <p:clrMapOvr>
    <a:masterClrMapping/>
  </p:clrMapOvr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0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8520332"/>
      </p:ext>
    </p:extLst>
  </p:cSld>
  <p:clrMapOvr>
    <a:masterClrMapping/>
  </p:clrMapOvr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821105823"/>
      </p:ext>
    </p:extLst>
  </p:cSld>
  <p:clrMapOvr>
    <a:masterClrMapping/>
  </p:clrMapOvr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15772397"/>
      </p:ext>
    </p:extLst>
  </p:cSld>
  <p:clrMapOvr>
    <a:masterClrMapping/>
  </p:clrMapOvr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1901327"/>
      </p:ext>
    </p:extLst>
  </p:cSld>
  <p:clrMapOvr>
    <a:masterClrMapping/>
  </p:clrMapOvr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1352467"/>
      </p:ext>
    </p:extLst>
  </p:cSld>
  <p:clrMapOvr>
    <a:masterClrMapping/>
  </p:clrMapOvr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23055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4874233"/>
      </p:ext>
    </p:extLst>
  </p:cSld>
  <p:clrMapOvr>
    <a:masterClrMapping/>
  </p:clrMapOvr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538498237"/>
      </p:ext>
    </p:extLst>
  </p:cSld>
  <p:clrMapOvr>
    <a:masterClrMapping/>
  </p:clrMapOvr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36365882"/>
      </p:ext>
    </p:extLst>
  </p:cSld>
  <p:clrMapOvr>
    <a:masterClrMapping/>
  </p:clrMapOvr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708656322"/>
      </p:ext>
    </p:extLst>
  </p:cSld>
  <p:clrMapOvr>
    <a:masterClrMapping/>
  </p:clrMapOvr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930473943"/>
      </p:ext>
    </p:extLst>
  </p:cSld>
  <p:clrMapOvr>
    <a:masterClrMapping/>
  </p:clrMapOvr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5550117"/>
      </p:ext>
    </p:extLst>
  </p:cSld>
  <p:clrMapOvr>
    <a:masterClrMapping/>
  </p:clrMapOvr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5824695"/>
      </p:ext>
    </p:extLst>
  </p:cSld>
  <p:clrMapOvr>
    <a:masterClrMapping/>
  </p:clrMapOvr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2_Title and Content">
    <p:spTree>
      <p:nvGrpSpPr>
        <p:cNvPr id="1" name="Shape 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8" name="Google Shape;58;p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9" name="Google Shape;59;p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" name="Google Shape;60;p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" name="Google Shape;61;p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2" name="Google Shape;62;p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3" name="Google Shape;63;p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" name="Google Shape;64;p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" name="Google Shape;65;p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lvl="1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lvl="2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lvl="3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lvl="4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lvl="5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lvl="6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lvl="7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lvl="8" indent="0" algn="r">
              <a:spcBef>
                <a:spcPts val="0"/>
              </a:spcBef>
              <a:buNone/>
              <a:defRPr sz="1200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" name="Google Shape;66;p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" name="Google Shape;67;p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2448463225"/>
      </p:ext>
    </p:extLst>
  </p:cSld>
  <p:clrMapOvr>
    <a:masterClrMapping/>
  </p:clrMapOvr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1_Photo Slide"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" name="Google Shape;109;p1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0" name="Google Shape;110;p1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1" name="Google Shape;111;p1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" name="Google Shape;112;p1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3" name="Google Shape;113;p1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00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4" name="Google Shape;114;p1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5" name="Google Shape;115;p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988034496"/>
      </p:ext>
    </p:extLst>
  </p:cSld>
  <p:clrMapOvr>
    <a:masterClrMapping/>
  </p:clrMapOvr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mag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B0B0C989-E3FB-4F69-8227-8244F332CE7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8"/>
            <a:ext cx="12188952" cy="6856284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FF7618B6-E663-4FB6-A496-62D28247C6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05173" y="365129"/>
            <a:ext cx="4927259" cy="1325563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Slide Header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B29FD71-6E8D-499C-98F0-AEBAE59BEAE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D85EF1F-7307-41BC-8C08-94B176AED8EE}" type="slidenum">
              <a:rPr lang="en-US" smtClean="0">
                <a:solidFill>
                  <a:srgbClr val="59CBE8"/>
                </a:solidFill>
              </a:rPr>
              <a:pPr/>
              <a:t>‹#›</a:t>
            </a:fld>
            <a:endParaRPr lang="en-US">
              <a:solidFill>
                <a:srgbClr val="59CBE8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9848D48-D39B-4893-B9C7-63F4F88ECBA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905173" y="1825629"/>
            <a:ext cx="4927259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728900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914057"/>
      </p:ext>
    </p:extLst>
  </p:cSld>
  <p:clrMapOvr>
    <a:masterClrMapping/>
  </p:clrMapOvr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reaker-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B8C0B6B-F84F-4269-A320-C9F50CAE2DD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96"/>
            <a:ext cx="12188952" cy="6857808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AEE77B09-AE95-4259-8E33-A11A880BA7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25152" y="5894636"/>
            <a:ext cx="1312781" cy="562270"/>
          </a:xfrm>
          <a:prstGeom prst="rect">
            <a:avLst/>
          </a:prstGeom>
        </p:spPr>
      </p:pic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5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36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ection </a:t>
            </a:r>
            <a:br>
              <a:rPr lang="en-US"/>
            </a:br>
            <a:r>
              <a:rPr lang="en-US"/>
              <a:t>Heading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lang="en-US" sz="1800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marR="0" lvl="0" indent="0" algn="l" defTabSz="685749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/>
              <a:t>Section Subheading</a:t>
            </a:r>
          </a:p>
        </p:txBody>
      </p:sp>
    </p:spTree>
    <p:extLst>
      <p:ext uri="{BB962C8B-B14F-4D97-AF65-F5344CB8AC3E}">
        <p14:creationId xmlns:p14="http://schemas.microsoft.com/office/powerpoint/2010/main" val="4022153863"/>
      </p:ext>
    </p:extLst>
  </p:cSld>
  <p:clrMapOvr>
    <a:masterClrMapping/>
  </p:clrMapOvr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2181" r="12170"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5DD26592-E925-4441-8BBF-7061DC86A97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4" y="0"/>
            <a:ext cx="12190476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2E78D50-1EDD-4D7B-ABD8-BC907C00DA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A695FA-8D81-4175-AC67-58110287A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D85EF1F-7307-41BC-8C08-94B176AED8EE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13AC1C5-3538-474F-9F06-8929A7657A3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825625"/>
            <a:ext cx="10515600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956606"/>
      </p:ext>
    </p:extLst>
  </p:cSld>
  <p:clrMapOvr>
    <a:masterClrMapping/>
  </p:clrMapOvr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ue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A3D8DF8-815A-48B4-B65A-88DC6AAD2A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952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0AA6442-40EC-401A-A225-140A0CF11B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6085114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E438211-8175-4277-B6C8-19E6C2D7C51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38200" y="1825625"/>
            <a:ext cx="6085114" cy="40163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9719BFA-6A30-4875-AC95-5728A8CB02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92771" y="6464300"/>
            <a:ext cx="2539660" cy="1818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2"/>
                </a:solidFill>
              </a:defRPr>
            </a:lvl1pPr>
          </a:lstStyle>
          <a:p>
            <a:fld id="{9D85EF1F-7307-41BC-8C08-94B176AED8E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9806002"/>
      </p:ext>
    </p:extLst>
  </p:cSld>
  <p:clrMapOvr>
    <a:masterClrMapping/>
  </p:clrMapOvr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-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594B4DD8-4FCE-42B4-A8D4-60B1E26226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0"/>
            <a:ext cx="12188952" cy="6858000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37C8259F-8CEC-4521-946F-8B5ED617D1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85224" y="2949956"/>
            <a:ext cx="1821552" cy="9580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5887101"/>
      </p:ext>
    </p:extLst>
  </p:cSld>
  <p:clrMapOvr>
    <a:masterClrMapping/>
  </p:clrMapOvr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C31344F-A8D8-411A-AAB1-3AEC09687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24" y="857"/>
            <a:ext cx="12188952" cy="6856285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109B9CD-6CA9-44ED-B942-A8D85CB4F75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802516" y="5915003"/>
            <a:ext cx="938786" cy="493777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E0AB0C8-74CC-446F-9281-8E91AA70FD4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459662" y="3429000"/>
            <a:ext cx="4180795" cy="1102858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40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resentation </a:t>
            </a:r>
          </a:p>
          <a:p>
            <a:pPr lvl="0"/>
            <a:r>
              <a:rPr lang="en-US"/>
              <a:t>Tit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BCA6C1C3-E0B6-4DA0-B906-995E3F944CC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459661" y="4775654"/>
            <a:ext cx="4180795" cy="78331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Subtitle</a:t>
            </a:r>
          </a:p>
          <a:p>
            <a:pPr lvl="0"/>
            <a:r>
              <a:rPr lang="en-US"/>
              <a:t>Presentation Date</a:t>
            </a:r>
          </a:p>
        </p:txBody>
      </p:sp>
    </p:spTree>
    <p:extLst>
      <p:ext uri="{BB962C8B-B14F-4D97-AF65-F5344CB8AC3E}">
        <p14:creationId xmlns:p14="http://schemas.microsoft.com/office/powerpoint/2010/main" val="888436358"/>
      </p:ext>
    </p:extLst>
  </p:cSld>
  <p:clrMapOvr>
    <a:masterClrMapping/>
  </p:clrMapOvr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EVERYDAY - CONTEN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8D28779C-1AD3-1541-9A51-E77EA90630DF}"/>
              </a:ext>
            </a:extLst>
          </p:cNvPr>
          <p:cNvSpPr/>
          <p:nvPr userDrawn="1"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tx2"/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7" name="Shape">
            <a:extLst>
              <a:ext uri="{FF2B5EF4-FFF2-40B4-BE49-F238E27FC236}">
                <a16:creationId xmlns:a16="http://schemas.microsoft.com/office/drawing/2014/main" id="{C83CC706-B92A-A944-99CA-5E429A0FD93D}"/>
              </a:ext>
            </a:extLst>
          </p:cNvPr>
          <p:cNvSpPr/>
          <p:nvPr userDrawn="1"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540" y="1707786"/>
            <a:ext cx="11203664" cy="4648568"/>
          </a:xfrm>
        </p:spPr>
        <p:txBody>
          <a:bodyPr/>
          <a:lstStyle>
            <a:lvl1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1pPr>
            <a:lvl2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2pPr>
            <a:lvl3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3pPr>
            <a:lvl4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4pPr>
            <a:lvl5pPr>
              <a:defRPr>
                <a:solidFill>
                  <a:schemeClr val="tx1">
                    <a:lumMod val="95000"/>
                    <a:lumOff val="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hape">
            <a:extLst>
              <a:ext uri="{FF2B5EF4-FFF2-40B4-BE49-F238E27FC236}">
                <a16:creationId xmlns:a16="http://schemas.microsoft.com/office/drawing/2014/main" id="{A84392A4-5D5E-9B41-96F4-3C2E92B15073}"/>
              </a:ext>
            </a:extLst>
          </p:cNvPr>
          <p:cNvSpPr/>
          <p:nvPr userDrawn="1"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alpha val="0"/>
                </a:schemeClr>
              </a:gs>
              <a:gs pos="100000">
                <a:schemeClr val="accent1">
                  <a:alpha val="63000"/>
                </a:schemeClr>
              </a:gs>
            </a:gsLst>
            <a:lin ang="0" scaled="0"/>
            <a:tileRect/>
          </a:gradFill>
          <a:ln w="12700">
            <a:noFill/>
            <a:miter lim="400000"/>
          </a:ln>
        </p:spPr>
        <p:txBody>
          <a:bodyPr lIns="0" tIns="0" rIns="0" bIns="0" anchor="ctr"/>
          <a:lstStyle/>
          <a:p>
            <a:pPr algn="ctr" defTabSz="412754" hangingPunct="0">
              <a:defRPr sz="2400">
                <a:solidFill>
                  <a:srgbClr val="FFFFFF"/>
                </a:solidFill>
                <a:latin typeface="Helvetica Neue Medium"/>
                <a:ea typeface="Helvetica Neue Medium"/>
                <a:cs typeface="Helvetica Neue Medium"/>
                <a:sym typeface="Helvetica Neue Medium"/>
              </a:defRPr>
            </a:pPr>
            <a:endParaRPr sz="1525" kern="0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sp>
        <p:nvSpPr>
          <p:cNvPr id="25" name="Title 1">
            <a:extLst>
              <a:ext uri="{FF2B5EF4-FFF2-40B4-BE49-F238E27FC236}">
                <a16:creationId xmlns:a16="http://schemas.microsoft.com/office/drawing/2014/main" id="{27B8B2B7-4C44-7441-83A9-BAB92197A3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E9665B4-DEF9-A848-97A4-D4DA2EF723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32187" y="953346"/>
            <a:ext cx="11430112" cy="415925"/>
          </a:xfrm>
        </p:spPr>
        <p:txBody>
          <a:bodyPr>
            <a:normAutofit/>
          </a:bodyPr>
          <a:lstStyle>
            <a:lvl1pPr marL="0" indent="0"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7E244035-01FE-DF4F-90D6-ADB13D0F06A8}"/>
              </a:ext>
            </a:extLst>
          </p:cNvPr>
          <p:cNvCxnSpPr>
            <a:cxnSpLocks/>
          </p:cNvCxnSpPr>
          <p:nvPr userDrawn="1"/>
        </p:nvCxnSpPr>
        <p:spPr>
          <a:xfrm>
            <a:off x="11311725" y="6447272"/>
            <a:ext cx="0" cy="267883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1" name="Slide Number Placeholder 6">
            <a:extLst>
              <a:ext uri="{FF2B5EF4-FFF2-40B4-BE49-F238E27FC236}">
                <a16:creationId xmlns:a16="http://schemas.microsoft.com/office/drawing/2014/main" id="{26CD3663-DA03-1748-AF41-97AF932E1B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</p:spPr>
        <p:txBody>
          <a:bodyPr/>
          <a:lstStyle>
            <a:lvl1pPr algn="r"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fld id="{7B67A630-6DEE-4F45-9872-4A9386C8884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CD3FB7A-87B0-7B45-BB4A-E20056ACADE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596461" y="6492240"/>
            <a:ext cx="1606135" cy="229238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582254879"/>
      </p:ext>
    </p:extLst>
  </p:cSld>
  <p:clrMapOvr>
    <a:masterClrMapping/>
  </p:clrMapOvr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532180"/>
      </p:ext>
    </p:extLst>
  </p:cSld>
  <p:clrMapOvr>
    <a:masterClrMapping/>
  </p:clrMapOvr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36500789"/>
      </p:ext>
    </p:extLst>
  </p:cSld>
  <p:clrMapOvr>
    <a:masterClrMapping/>
  </p:clrMapOvr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308017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84230286"/>
      </p:ext>
    </p:extLst>
  </p:cSld>
  <p:clrMapOvr>
    <a:masterClrMapping/>
  </p:clrMapOvr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09868767"/>
      </p:ext>
    </p:extLst>
  </p:cSld>
  <p:clrMapOvr>
    <a:masterClrMapping/>
  </p:clrMapOvr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199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57548"/>
      </p:ext>
    </p:extLst>
  </p:cSld>
  <p:clrMapOvr>
    <a:masterClrMapping/>
  </p:clrMapOvr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2401269"/>
      </p:ext>
    </p:extLst>
  </p:cSld>
  <p:clrMapOvr>
    <a:masterClrMapping/>
  </p:clrMapOvr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529727"/>
      </p:ext>
    </p:extLst>
  </p:cSld>
  <p:clrMapOvr>
    <a:masterClrMapping/>
  </p:clrMapOvr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1337409"/>
      </p:ext>
    </p:extLst>
  </p:cSld>
  <p:clrMapOvr>
    <a:masterClrMapping/>
  </p:clrMapOvr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5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199" y="1825625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75216660"/>
      </p:ext>
    </p:extLst>
  </p:cSld>
  <p:clrMapOvr>
    <a:masterClrMapping/>
  </p:clrMapOvr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476272431"/>
      </p:ext>
    </p:extLst>
  </p:cSld>
  <p:clrMapOvr>
    <a:masterClrMapping/>
  </p:clrMapOvr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069300124"/>
      </p:ext>
    </p:extLst>
  </p:cSld>
  <p:clrMapOvr>
    <a:masterClrMapping/>
  </p:clrMapOvr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0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140117"/>
      </p:ext>
    </p:extLst>
  </p:cSld>
  <p:clrMapOvr>
    <a:masterClrMapping/>
  </p:clrMapOvr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5978153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4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798914"/>
      </p:ext>
    </p:extLst>
  </p:cSld>
  <p:clrMapOvr>
    <a:masterClrMapping/>
  </p:clrMapOvr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" name="Google Shape;69;p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" name="Google Shape;70;p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1" name="Google Shape;71;p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" name="Google Shape;72;p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" name="Google Shape;73;p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4" name="Google Shape;74;p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5" name="Google Shape;75;p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6" name="Google Shape;76;p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" name="Google Shape;77;p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lvl="0" indent="0" algn="r">
              <a:spcBef>
                <a:spcPts val="0"/>
              </a:spcBef>
              <a:buNone/>
              <a:defRPr/>
            </a:lvl1pPr>
            <a:lvl2pPr marL="0" lvl="1" indent="0" algn="r">
              <a:spcBef>
                <a:spcPts val="0"/>
              </a:spcBef>
              <a:buNone/>
              <a:defRPr/>
            </a:lvl2pPr>
            <a:lvl3pPr marL="0" lvl="2" indent="0" algn="r">
              <a:spcBef>
                <a:spcPts val="0"/>
              </a:spcBef>
              <a:buNone/>
              <a:defRPr/>
            </a:lvl3pPr>
            <a:lvl4pPr marL="0" lvl="3" indent="0" algn="r">
              <a:spcBef>
                <a:spcPts val="0"/>
              </a:spcBef>
              <a:buNone/>
              <a:defRPr/>
            </a:lvl4pPr>
            <a:lvl5pPr marL="0" lvl="4" indent="0" algn="r">
              <a:spcBef>
                <a:spcPts val="0"/>
              </a:spcBef>
              <a:buNone/>
              <a:defRPr/>
            </a:lvl5pPr>
            <a:lvl6pPr marL="0" lvl="5" indent="0" algn="r">
              <a:spcBef>
                <a:spcPts val="0"/>
              </a:spcBef>
              <a:buNone/>
              <a:defRPr/>
            </a:lvl6pPr>
            <a:lvl7pPr marL="0" lvl="6" indent="0" algn="r">
              <a:spcBef>
                <a:spcPts val="0"/>
              </a:spcBef>
              <a:buNone/>
              <a:defRPr/>
            </a:lvl7pPr>
            <a:lvl8pPr marL="0" lvl="7" indent="0" algn="r">
              <a:spcBef>
                <a:spcPts val="0"/>
              </a:spcBef>
              <a:buNone/>
              <a:defRPr/>
            </a:lvl8pPr>
            <a:lvl9pPr marL="0" lvl="8" indent="0" algn="r">
              <a:spcBef>
                <a:spcPts val="0"/>
              </a:spcBef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8" name="Google Shape;78;p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" name="Google Shape;79;p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6851664"/>
      </p:ext>
    </p:extLst>
  </p:cSld>
  <p:clrMapOvr>
    <a:masterClrMapping/>
  </p:clrMapOvr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-Line Title (Blank, Logo Top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2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20" y="533969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342900" indent="0">
              <a:buNone/>
              <a:defRPr b="1">
                <a:solidFill>
                  <a:srgbClr val="8C2347"/>
                </a:solidFill>
              </a:defRPr>
            </a:lvl2pPr>
            <a:lvl3pPr marL="685800" indent="0">
              <a:buNone/>
              <a:defRPr b="1">
                <a:solidFill>
                  <a:srgbClr val="8C2347"/>
                </a:solidFill>
              </a:defRPr>
            </a:lvl3pPr>
            <a:lvl4pPr marL="1028700" indent="0">
              <a:buNone/>
              <a:defRPr b="1">
                <a:solidFill>
                  <a:srgbClr val="8C2347"/>
                </a:solidFill>
              </a:defRPr>
            </a:lvl4pPr>
            <a:lvl5pPr marL="13716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4" y="5955178"/>
            <a:ext cx="2376668" cy="902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sp>
        <p:nvSpPr>
          <p:cNvPr id="5" name="Rectangle 4"/>
          <p:cNvSpPr/>
          <p:nvPr userDrawn="1"/>
        </p:nvSpPr>
        <p:spPr>
          <a:xfrm>
            <a:off x="9815334" y="77979"/>
            <a:ext cx="2376668" cy="94452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25"/>
          </a:p>
        </p:txBody>
      </p:sp>
      <p:pic>
        <p:nvPicPr>
          <p:cNvPr id="7" name="Picture 6" descr="LM_LUMC_3C_V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97747" y="317115"/>
            <a:ext cx="1653863" cy="574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8985061"/>
      </p:ext>
    </p:extLst>
  </p:cSld>
  <p:clrMapOvr>
    <a:masterClrMapping/>
  </p:clrMapOvr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Line Title (Logo UR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" name="Straight Connector 13"/>
          <p:cNvCxnSpPr/>
          <p:nvPr userDrawn="1"/>
        </p:nvCxnSpPr>
        <p:spPr>
          <a:xfrm>
            <a:off x="1" y="1129976"/>
            <a:ext cx="10289308" cy="0"/>
          </a:xfrm>
          <a:prstGeom prst="line">
            <a:avLst/>
          </a:prstGeom>
          <a:ln w="12700">
            <a:solidFill>
              <a:srgbClr val="C9C9C9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2"/>
          <p:cNvSpPr>
            <a:spLocks noGrp="1"/>
          </p:cNvSpPr>
          <p:nvPr>
            <p:ph type="body" sz="quarter" idx="12" hasCustomPrompt="1"/>
          </p:nvPr>
        </p:nvSpPr>
        <p:spPr>
          <a:xfrm>
            <a:off x="700619" y="533967"/>
            <a:ext cx="8867787" cy="488537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b="1">
                <a:solidFill>
                  <a:srgbClr val="8C2347"/>
                </a:solidFill>
              </a:defRPr>
            </a:lvl1pPr>
            <a:lvl2pPr marL="457200" indent="0">
              <a:buNone/>
              <a:defRPr b="1">
                <a:solidFill>
                  <a:srgbClr val="8C2347"/>
                </a:solidFill>
              </a:defRPr>
            </a:lvl2pPr>
            <a:lvl3pPr marL="914400" indent="0">
              <a:buNone/>
              <a:defRPr b="1">
                <a:solidFill>
                  <a:srgbClr val="8C2347"/>
                </a:solidFill>
              </a:defRPr>
            </a:lvl3pPr>
            <a:lvl4pPr marL="1371600" indent="0">
              <a:buNone/>
              <a:defRPr b="1">
                <a:solidFill>
                  <a:srgbClr val="8C2347"/>
                </a:solidFill>
              </a:defRPr>
            </a:lvl4pPr>
            <a:lvl5pPr marL="1828800" indent="0">
              <a:buNone/>
              <a:defRPr b="1">
                <a:solidFill>
                  <a:srgbClr val="8C2347"/>
                </a:solidFill>
              </a:defRPr>
            </a:lvl5pPr>
          </a:lstStyle>
          <a:p>
            <a:pPr lvl="0"/>
            <a:r>
              <a:rPr lang="en-US"/>
              <a:t>28PT TITLE HER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9815333" y="5694745"/>
            <a:ext cx="2376668" cy="1163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700619" y="1359436"/>
            <a:ext cx="10768892" cy="4982097"/>
          </a:xfrm>
          <a:prstGeom prst="rect">
            <a:avLst/>
          </a:prstGeom>
        </p:spPr>
        <p:txBody>
          <a:bodyPr anchor="t" anchorCtr="0"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/>
                <a:ea typeface="Times New Roman" charset="0"/>
                <a:cs typeface="Arial"/>
              </a:defRPr>
            </a:lvl1pPr>
            <a:lvl2pPr marL="4572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2pPr>
            <a:lvl3pPr marL="9144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3pPr>
            <a:lvl4pPr marL="13716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4pPr>
            <a:lvl5pPr marL="1828800" indent="0">
              <a:buNone/>
              <a:defRPr sz="2000" i="1">
                <a:solidFill>
                  <a:schemeClr val="tx1">
                    <a:lumMod val="50000"/>
                    <a:lumOff val="50000"/>
                  </a:schemeClr>
                </a:solidFill>
                <a:latin typeface="Times New Roman" charset="0"/>
                <a:ea typeface="Times New Roman" charset="0"/>
                <a:cs typeface="Times New Roman" charset="0"/>
              </a:defRPr>
            </a:lvl5pPr>
          </a:lstStyle>
          <a:p>
            <a:pPr lvl="0"/>
            <a:r>
              <a:rPr lang="en-US"/>
              <a:t>Sample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42179098"/>
      </p:ext>
    </p:extLst>
  </p:cSld>
  <p:clrMapOvr>
    <a:masterClrMapping/>
  </p:clrMapOvr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37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" name="Google Shape;16;p37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" name="Google Shape;17;p37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" name="Google Shape;18;p3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9" name="Google Shape;19;p37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0" name="Google Shape;20;p37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1" name="Google Shape;21;p37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2" name="Google Shape;22;p3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 type="obj">
  <p:cSld name="OBJECT">
    <p:spTree>
      <p:nvGrpSpPr>
        <p:cNvPr id="1" name="Shape 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" name="Google Shape;24;p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5" name="Google Shape;25;p3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" name="Google Shape;26;p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7" name="Google Shape;27;p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8" name="Google Shape;28;p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9" name="Google Shape;29;p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" name="Google Shape;30;p3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" name="Google Shape;31;p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2" name="Google Shape;32;p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" name="Google Shape;33;p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2">
    <p:spTree>
      <p:nvGrpSpPr>
        <p:cNvPr id="1" name="Shape 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" name="Google Shape;35;p4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" name="Google Shape;36;p4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7" name="Google Shape;37;p4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8" name="Google Shape;38;p4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" name="Google Shape;39;p4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" name="Google Shape;40;p4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" name="Google Shape;41;p4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" name="Google Shape;42;p4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" name="Google Shape;43;p4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4" name="Google Shape;44;p4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108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7" name="Google Shape;47;p108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48" name="Google Shape;48;p108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49" name="Google Shape;49;p108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" name="Google Shape;50;p108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51" name="Google Shape;51;p10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oogle Shape;53;p4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" name="Google Shape;54;p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" name="Google Shape;55;p4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" name="Google Shape;56;p4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7" name="Google Shape;57;p4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8" name="Google Shape;58;p4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" name="Google Shape;59;p4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" name="Google Shape;60;p4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1" name="Google Shape;61;p4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" name="Google Shape;62;p4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">
    <p:spTree>
      <p:nvGrpSpPr>
        <p:cNvPr id="1" name="Shape 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Google Shape;64;p5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" name="Google Shape;65;p5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6" name="Google Shape;66;p5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7" name="Google Shape;67;p5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8" name="Google Shape;68;p5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" name="Google Shape;69;p5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" name="Google Shape;70;p5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1" name="Google Shape;71;p5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" name="Google Shape;72;p5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3" name="Google Shape;73;p5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" name="Google Shape;74;p5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" name="Google Shape;84;p4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" name="Google Shape;85;p4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6" name="Google Shape;86;p4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7" name="Google Shape;87;p4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" name="Google Shape;88;p4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" name="Google Shape;89;p4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0" name="Google Shape;90;p4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1" name="Google Shape;91;p4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331D4E-0EAC-D04C-AD34-22F65D243FA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13349" y="2633534"/>
            <a:ext cx="5194433" cy="2387600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F519E7E-7FC1-9A40-A17D-7E7F8C7269F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13349" y="5400326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8DA88010-3869-0040-9A12-E3C1DFDF98B0}"/>
              </a:ext>
            </a:extLst>
          </p:cNvPr>
          <p:cNvGrpSpPr/>
          <p:nvPr userDrawn="1"/>
        </p:nvGrpSpPr>
        <p:grpSpPr>
          <a:xfrm flipH="1">
            <a:off x="-1" y="2"/>
            <a:ext cx="6418725" cy="1509822"/>
            <a:chOff x="7522541" y="1"/>
            <a:chExt cx="4669459" cy="1098357"/>
          </a:xfrm>
        </p:grpSpPr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F722652D-3022-0749-A7E0-A0EA58DDD572}"/>
                </a:ext>
              </a:extLst>
            </p:cNvPr>
            <p:cNvSpPr/>
            <p:nvPr userDrawn="1"/>
          </p:nvSpPr>
          <p:spPr>
            <a:xfrm>
              <a:off x="7522541" y="1"/>
              <a:ext cx="4669459" cy="1098357"/>
            </a:xfrm>
            <a:custGeom>
              <a:avLst/>
              <a:gdLst>
                <a:gd name="connsiteX0" fmla="*/ 0 w 4669459"/>
                <a:gd name="connsiteY0" fmla="*/ 0 h 1098357"/>
                <a:gd name="connsiteX1" fmla="*/ 393099 w 4669459"/>
                <a:gd name="connsiteY1" fmla="*/ 0 h 1098357"/>
                <a:gd name="connsiteX2" fmla="*/ 485580 w 4669459"/>
                <a:gd name="connsiteY2" fmla="*/ 28411 h 1098357"/>
                <a:gd name="connsiteX3" fmla="*/ 2241464 w 4669459"/>
                <a:gd name="connsiteY3" fmla="*/ 572540 h 1098357"/>
                <a:gd name="connsiteX4" fmla="*/ 4645823 w 4669459"/>
                <a:gd name="connsiteY4" fmla="*/ 731027 h 1098357"/>
                <a:gd name="connsiteX5" fmla="*/ 4669459 w 4669459"/>
                <a:gd name="connsiteY5" fmla="*/ 726784 h 1098357"/>
                <a:gd name="connsiteX6" fmla="*/ 4669459 w 4669459"/>
                <a:gd name="connsiteY6" fmla="*/ 1079503 h 1098357"/>
                <a:gd name="connsiteX7" fmla="*/ 4627787 w 4669459"/>
                <a:gd name="connsiteY7" fmla="*/ 1083679 h 1098357"/>
                <a:gd name="connsiteX8" fmla="*/ 568062 w 4669459"/>
                <a:gd name="connsiteY8" fmla="*/ 207626 h 109835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4669459" h="1098357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40000">
                  <a:schemeClr val="accent3"/>
                </a:gs>
              </a:gsLst>
              <a:lin ang="0" scaled="0"/>
              <a:tileRect/>
            </a:gra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1" name="Freeform 30">
              <a:extLst>
                <a:ext uri="{FF2B5EF4-FFF2-40B4-BE49-F238E27FC236}">
                  <a16:creationId xmlns:a16="http://schemas.microsoft.com/office/drawing/2014/main" id="{67B75392-8779-2B46-8DA6-CC055372E224}"/>
                </a:ext>
              </a:extLst>
            </p:cNvPr>
            <p:cNvSpPr/>
            <p:nvPr userDrawn="1"/>
          </p:nvSpPr>
          <p:spPr>
            <a:xfrm>
              <a:off x="7649481" y="1"/>
              <a:ext cx="4542519" cy="983565"/>
            </a:xfrm>
            <a:custGeom>
              <a:avLst/>
              <a:gdLst>
                <a:gd name="connsiteX0" fmla="*/ 0 w 4542519"/>
                <a:gd name="connsiteY0" fmla="*/ 0 h 983565"/>
                <a:gd name="connsiteX1" fmla="*/ 4542519 w 4542519"/>
                <a:gd name="connsiteY1" fmla="*/ 0 h 983565"/>
                <a:gd name="connsiteX2" fmla="*/ 4542519 w 4542519"/>
                <a:gd name="connsiteY2" fmla="*/ 957397 h 983565"/>
                <a:gd name="connsiteX3" fmla="*/ 4542518 w 4542519"/>
                <a:gd name="connsiteY3" fmla="*/ 957403 h 983565"/>
                <a:gd name="connsiteX4" fmla="*/ 4510552 w 4542519"/>
                <a:gd name="connsiteY4" fmla="*/ 961138 h 983565"/>
                <a:gd name="connsiteX5" fmla="*/ 439600 w 4542519"/>
                <a:gd name="connsiteY5" fmla="*/ 152515 h 98356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4542519" h="983565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 w="3289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pic>
        <p:nvPicPr>
          <p:cNvPr id="29" name="Picture 28">
            <a:extLst>
              <a:ext uri="{FF2B5EF4-FFF2-40B4-BE49-F238E27FC236}">
                <a16:creationId xmlns:a16="http://schemas.microsoft.com/office/drawing/2014/main" id="{0F7B7F6A-87A0-4D46-948E-5CBC780A2B9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348" y="136526"/>
            <a:ext cx="1945206" cy="8799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1771967"/>
      </p:ext>
    </p:extLst>
  </p:cSld>
  <p:clrMapOvr>
    <a:masterClrMapping/>
  </p:clrMapOvr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3">
    <p:spTree>
      <p:nvGrpSpPr>
        <p:cNvPr id="1" name="Shape 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3" name="Google Shape;93;p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" name="Google Shape;94;p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" name="Google Shape;95;p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6" name="Google Shape;96;p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8" name="Google Shape;98;p4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4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0" name="Google Shape;100;p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1" name="Google Shape;101;p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" name="Google Shape;102;p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2">
    <p:spTree>
      <p:nvGrpSpPr>
        <p:cNvPr id="1" name="Shape 1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" name="Google Shape;104;p4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5" name="Google Shape;105;p4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" name="Google Shape;106;p4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7" name="Google Shape;107;p4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8" name="Google Shape;108;p4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9" name="Google Shape;109;p4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" name="Google Shape;110;p4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" name="Google Shape;111;p4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">
    <p:spTree>
      <p:nvGrpSpPr>
        <p:cNvPr id="1" name="Shape 1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3" name="Google Shape;113;p4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4" name="Google Shape;114;p4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" name="Google Shape;115;p4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4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" name="Google Shape;117;p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" name="Google Shape;118;p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" name="Google Shape;119;p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" name="Google Shape;120;p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" name="Google Shape;121;p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2" name="Google Shape;122;p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4" name="Google Shape;124;p4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"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4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" name="Google Shape;127;p4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4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" name="Google Shape;129;p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0" name="Google Shape;130;p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" name="Google Shape;131;p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2" name="Google Shape;132;p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3" name="Google Shape;133;p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4" name="Google Shape;134;p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5" name="Google Shape;135;p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37" name="Google Shape;137;p4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 type="twoObj">
  <p:cSld name="TWO_OBJECTS">
    <p:spTree>
      <p:nvGrpSpPr>
        <p:cNvPr id="1" name="Shape 1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" name="Google Shape;139;p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" name="Google Shape;140;p49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41" name="Google Shape;141;p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42" name="Google Shape;142;p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43" name="Google Shape;143;p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44" name="Google Shape;144;p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5" name="Google Shape;145;p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46" name="Google Shape;146;p49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7" name="Google Shape;147;p49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48" name="Google Shape;148;p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9" name="Google Shape;149;p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 type="twoTxTwoObj">
  <p:cSld name="TWO_OBJECTS_WITH_TEXT">
    <p:spTree>
      <p:nvGrpSpPr>
        <p:cNvPr id="1" name="Shape 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1" name="Google Shape;151;p5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" name="Google Shape;152;p5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" name="Google Shape;153;p5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" name="Google Shape;154;p5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" name="Google Shape;155;p5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6" name="Google Shape;156;p5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" name="Google Shape;157;p50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8" name="Google Shape;158;p50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9" name="Google Shape;159;p50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0" name="Google Shape;160;p50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1" name="Google Shape;161;p5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" name="Google Shape;162;p5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3" name="Google Shape;163;p5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">
    <p:spTree>
      <p:nvGrpSpPr>
        <p:cNvPr id="1" name="Shape 1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5" name="Google Shape;165;p5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6" name="Google Shape;166;p5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7" name="Google Shape;167;p5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8" name="Google Shape;168;p5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9" name="Google Shape;169;p5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0" name="Google Shape;170;p5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1" name="Google Shape;171;p5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2">
    <p:bg>
      <p:bgPr>
        <a:solidFill>
          <a:schemeClr val="lt2"/>
        </a:solidFill>
        <a:effectLst/>
      </p:bgPr>
    </p:bg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3" name="Google Shape;173;p52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4" name="Google Shape;174;p52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" name="Google Shape;175;p5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6" name="Google Shape;176;p52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7" name="Google Shape;177;p5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8" name="Google Shape;178;p52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52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2">
    <p:spTree>
      <p:nvGrpSpPr>
        <p:cNvPr id="1" name="Shape 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1" name="Google Shape;181;p53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2" name="Google Shape;182;p53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3" name="Google Shape;183;p53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4" name="Google Shape;184;p53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" name="Google Shape;185;p53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6" name="Google Shape;186;p53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" name="Google Shape;187;p5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3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" name="Google Shape;189;p5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0" name="Google Shape;190;p5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" name="Google Shape;191;p5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" name="Google Shape;192;p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" name="Google Shape;193;p5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" name="Google Shape;194;p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5" name="Google Shape;195;p5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" name="Google Shape;196;p5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7" name="Google Shape;197;p5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" name="Google Shape;198;p5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" name="Google Shape;199;p5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" name="Google Shape;200;p5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91199215"/>
      </p:ext>
    </p:extLst>
  </p:cSld>
  <p:clrMapOvr>
    <a:masterClrMapping/>
  </p:clrMapOvr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4">
    <p:spTree>
      <p:nvGrpSpPr>
        <p:cNvPr id="1" name="Shape 2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2" name="Google Shape;202;p5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03" name="Google Shape;203;p5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5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5" name="Google Shape;205;p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06" name="Google Shape;206;p5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07" name="Google Shape;207;p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08" name="Google Shape;208;p5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9" name="Google Shape;209;p5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0" name="Google Shape;210;p5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1" name="Google Shape;211;p5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2" name="Google Shape;212;p5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13" name="Google Shape;213;p5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4">
    <p:spTree>
      <p:nvGrpSpPr>
        <p:cNvPr id="1" name="Shape 2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5" name="Google Shape;215;p5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16" name="Google Shape;216;p5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17" name="Google Shape;217;p5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18" name="Google Shape;218;p5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19" name="Google Shape;219;p5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20" name="Google Shape;220;p5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p5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" name="Google Shape;222;p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23" name="Google Shape;223;p5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24" name="Google Shape;224;p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">
    <p:spTree>
      <p:nvGrpSpPr>
        <p:cNvPr id="1" name="Shape 2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6" name="Google Shape;226;p5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27" name="Google Shape;227;p5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28" name="Google Shape;228;p5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29" name="Google Shape;229;p5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30" name="Google Shape;230;p5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31" name="Google Shape;231;p5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2" name="Google Shape;232;p5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3" name="Google Shape;233;p5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p5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235" name="Google Shape;235;p5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5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37" name="Google Shape;237;p5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38" name="Google Shape;238;p5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40" name="Google Shape;240;p5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41" name="Google Shape;241;p5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42" name="Google Shape;242;p5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43" name="Google Shape;243;p5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44" name="Google Shape;244;p5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245" name="Google Shape;245;p5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6" name="Google Shape;246;p5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47" name="Google Shape;247;p5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48" name="Google Shape;248;p5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" name="Google Shape;250;p6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251" name="Google Shape;251;p6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52" name="Google Shape;252;p6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53" name="Google Shape;253;p6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54" name="Google Shape;254;p6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5" name="Google Shape;255;p6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256" name="Google Shape;256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257" name="Google Shape;257;p6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">
    <p:spTree>
      <p:nvGrpSpPr>
        <p:cNvPr id="1" name="Shape 2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9" name="Google Shape;259;p6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60" name="Google Shape;260;p6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61" name="Google Shape;261;p6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62" name="Google Shape;262;p6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63" name="Google Shape;263;p6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64" name="Google Shape;264;p6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65" name="Google Shape;265;p6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266;p6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3">
    <p:spTree>
      <p:nvGrpSpPr>
        <p:cNvPr id="1" name="Shape 2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Google Shape;268;p6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69" name="Google Shape;269;p6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0" name="Google Shape;270;p6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271" name="Google Shape;271;p6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272" name="Google Shape;272;p6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273" name="Google Shape;273;p6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4" name="Google Shape;274;p6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75" name="Google Shape;275;p6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3">
    <p:bg>
      <p:bgPr>
        <a:solidFill>
          <a:schemeClr val="lt2"/>
        </a:solidFill>
        <a:effectLst/>
      </p:bgPr>
    </p:bg>
    <p:spTree>
      <p:nvGrpSpPr>
        <p:cNvPr id="1" name="Shape 2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7" name="Google Shape;277;p6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278" name="Google Shape;278;p6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9" name="Google Shape;279;p6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0" name="Google Shape;280;p6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281" name="Google Shape;281;p6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282" name="Google Shape;282;p6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3" name="Google Shape;283;p6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5">
    <p:spTree>
      <p:nvGrpSpPr>
        <p:cNvPr id="1" name="Shape 28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" name="Google Shape;285;p6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286" name="Google Shape;286;p6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7" name="Google Shape;287;p6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8" name="Google Shape;288;p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289" name="Google Shape;289;p6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290" name="Google Shape;290;p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291" name="Google Shape;291;p6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2" name="Google Shape;292;p6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93" name="Google Shape;293;p6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94" name="Google Shape;294;p6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95" name="Google Shape;295;p6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96" name="Google Shape;296;p6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5"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8" name="Google Shape;298;p6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99" name="Google Shape;299;p6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00" name="Google Shape;300;p6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01" name="Google Shape;301;p6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02" name="Google Shape;302;p6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03" name="Google Shape;303;p6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4" name="Google Shape;304;p6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" name="Google Shape;305;p6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06" name="Google Shape;306;p6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07" name="Google Shape;307;p6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629515799"/>
      </p:ext>
    </p:extLst>
  </p:cSld>
  <p:clrMapOvr>
    <a:masterClrMapping/>
  </p:clrMapOvr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2">
    <p:spTree>
      <p:nvGrpSpPr>
        <p:cNvPr id="1" name="Shape 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" name="Google Shape;309;p6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6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311" name="Google Shape;311;p6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12" name="Google Shape;312;p6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13" name="Google Shape;313;p6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14" name="Google Shape;314;p6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15" name="Google Shape;315;p6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16" name="Google Shape;316;p6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7" name="Google Shape;317;p6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18" name="Google Shape;318;p6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19" name="Google Shape;319;p6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2">
    <p:spTree>
      <p:nvGrpSpPr>
        <p:cNvPr id="1" name="Shape 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1" name="Google Shape;321;p6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22" name="Google Shape;322;p6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23" name="Google Shape;323;p6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24" name="Google Shape;324;p6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25" name="Google Shape;325;p6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26" name="Google Shape;326;p6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6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28" name="Google Shape;328;p6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9" name="Google Shape;329;p6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330" name="Google Shape;330;p6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6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32" name="Google Shape;332;p6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33" name="Google Shape;333;p6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3"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6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336" name="Google Shape;336;p6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337" name="Google Shape;337;p6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338" name="Google Shape;338;p6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39" name="Google Shape;339;p6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0" name="Google Shape;340;p6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341" name="Google Shape;341;p6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2">
    <p:spTree>
      <p:nvGrpSpPr>
        <p:cNvPr id="1" name="Shape 3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3" name="Google Shape;343;p6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344" name="Google Shape;344;p6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5" name="Google Shape;345;p6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6" name="Google Shape;346;p6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47" name="Google Shape;347;p6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8" name="Google Shape;348;p6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349" name="Google Shape;349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350" name="Google Shape;350;p6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2">
    <p:spTree>
      <p:nvGrpSpPr>
        <p:cNvPr id="1" name="Shape 3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2" name="Google Shape;352;p7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53" name="Google Shape;353;p7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54" name="Google Shape;354;p7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55" name="Google Shape;355;p7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56" name="Google Shape;356;p7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57" name="Google Shape;357;p7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58" name="Google Shape;358;p7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59" name="Google Shape;359;p7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">
    <p:spTree>
      <p:nvGrpSpPr>
        <p:cNvPr id="1" name="Shape 3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61" name="Google Shape;361;p7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62" name="Google Shape;362;p7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63" name="Google Shape;363;p7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4" name="Google Shape;364;p7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65" name="Google Shape;365;p7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366" name="Google Shape;366;p7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7" name="Google Shape;367;p7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68" name="Google Shape;368;p7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69" name="Google Shape;369;p7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4">
    <p:spTree>
      <p:nvGrpSpPr>
        <p:cNvPr id="1" name="Shape 3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1" name="Google Shape;371;p7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72" name="Google Shape;372;p7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3" name="Google Shape;373;p7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374" name="Google Shape;374;p7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375" name="Google Shape;375;p7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376" name="Google Shape;376;p7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77" name="Google Shape;377;p7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78" name="Google Shape;378;p7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4">
    <p:bg>
      <p:bgPr>
        <a:solidFill>
          <a:schemeClr val="lt2"/>
        </a:solidFill>
        <a:effectLst/>
      </p:bgPr>
    </p:bg>
    <p:spTree>
      <p:nvGrpSpPr>
        <p:cNvPr id="1" name="Shape 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80" name="Google Shape;380;p7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381" name="Google Shape;381;p7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2" name="Google Shape;382;p7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3" name="Google Shape;383;p7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384" name="Google Shape;384;p7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385" name="Google Shape;385;p7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6" name="Google Shape;386;p7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6">
    <p:spTree>
      <p:nvGrpSpPr>
        <p:cNvPr id="1" name="Shape 3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8" name="Google Shape;388;p7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389" name="Google Shape;389;p7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0" name="Google Shape;390;p7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1" name="Google Shape;391;p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392" name="Google Shape;392;p7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393" name="Google Shape;393;p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394" name="Google Shape;394;p7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395" name="Google Shape;395;p7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396" name="Google Shape;396;p7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97" name="Google Shape;397;p7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8" name="Google Shape;398;p7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399" name="Google Shape;399;p7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6">
    <p:spTree>
      <p:nvGrpSpPr>
        <p:cNvPr id="1" name="Shape 4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01" name="Google Shape;401;p7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02" name="Google Shape;402;p7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03" name="Google Shape;403;p7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04" name="Google Shape;404;p7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5" name="Google Shape;405;p7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06" name="Google Shape;406;p7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" name="Google Shape;407;p75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" name="Google Shape;408;p7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09" name="Google Shape;409;p7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10" name="Google Shape;410;p7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436128"/>
      </p:ext>
    </p:extLst>
  </p:cSld>
  <p:clrMapOvr>
    <a:masterClrMapping/>
  </p:clrMapOvr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3">
    <p:spTree>
      <p:nvGrpSpPr>
        <p:cNvPr id="1" name="Shape 4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2" name="Google Shape;412;p7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13" name="Google Shape;413;p7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414" name="Google Shape;414;p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15" name="Google Shape;415;p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16" name="Google Shape;416;p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17" name="Google Shape;417;p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8" name="Google Shape;418;p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19" name="Google Shape;419;p7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0" name="Google Shape;420;p7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21" name="Google Shape;421;p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22" name="Google Shape;422;p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3">
    <p:spTree>
      <p:nvGrpSpPr>
        <p:cNvPr id="1" name="Shape 4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4" name="Google Shape;424;p7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25" name="Google Shape;425;p7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26" name="Google Shape;426;p7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7" name="Google Shape;427;p7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28" name="Google Shape;428;p7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29" name="Google Shape;429;p7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0" name="Google Shape;430;p7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1" name="Google Shape;431;p7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2" name="Google Shape;432;p7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433" name="Google Shape;433;p7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4" name="Google Shape;434;p7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35" name="Google Shape;435;p7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36" name="Google Shape;436;p7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4">
    <p:spTree>
      <p:nvGrpSpPr>
        <p:cNvPr id="1" name="Shape 4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8" name="Google Shape;438;p78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439" name="Google Shape;439;p78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440" name="Google Shape;440;p78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441" name="Google Shape;441;p78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42" name="Google Shape;442;p78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43" name="Google Shape;443;p78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444" name="Google Shape;444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7">
    <p:spTree>
      <p:nvGrpSpPr>
        <p:cNvPr id="1" name="Shape 4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6" name="Google Shape;446;p7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47" name="Google Shape;447;p7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48" name="Google Shape;448;p7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9" name="Google Shape;449;p7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50" name="Google Shape;450;p7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51" name="Google Shape;451;p7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52" name="Google Shape;452;p7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53" name="Google Shape;453;p7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54" name="Google Shape;454;p7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55" name="Google Shape;455;p7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56" name="Google Shape;456;p7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457" name="Google Shape;457;p7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3">
    <p:spTree>
      <p:nvGrpSpPr>
        <p:cNvPr id="1" name="Shape 4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59" name="Google Shape;459;p8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60" name="Google Shape;460;p8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61" name="Google Shape;461;p8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62" name="Google Shape;462;p8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63" name="Google Shape;463;p8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4" name="Google Shape;464;p8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465" name="Google Shape;465;p8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466" name="Google Shape;466;p8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3">
    <p:spTree>
      <p:nvGrpSpPr>
        <p:cNvPr id="1" name="Shape 4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8" name="Google Shape;468;p8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69" name="Google Shape;469;p8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70" name="Google Shape;470;p8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471" name="Google Shape;471;p8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2" name="Google Shape;472;p8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3" name="Google Shape;473;p8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74" name="Google Shape;474;p8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75" name="Google Shape;475;p8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2">
    <p:spTree>
      <p:nvGrpSpPr>
        <p:cNvPr id="1" name="Shape 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77" name="Google Shape;477;p8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478" name="Google Shape;478;p8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479" name="Google Shape;479;p8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80" name="Google Shape;480;p8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81" name="Google Shape;481;p8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482" name="Google Shape;482;p8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3" name="Google Shape;483;p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484" name="Google Shape;484;p8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485" name="Google Shape;485;p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5">
    <p:spTree>
      <p:nvGrpSpPr>
        <p:cNvPr id="1" name="Shape 4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7" name="Google Shape;487;p8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8" name="Google Shape;488;p8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9" name="Google Shape;489;p8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490" name="Google Shape;490;p8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491" name="Google Shape;491;p8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492" name="Google Shape;492;p8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3" name="Google Shape;493;p8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494" name="Google Shape;494;p8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5">
    <p:bg>
      <p:bgPr>
        <a:solidFill>
          <a:schemeClr val="lt2"/>
        </a:solidFill>
        <a:effectLst/>
      </p:bgPr>
    </p:bg>
    <p:spTree>
      <p:nvGrpSpPr>
        <p:cNvPr id="1" name="Shape 4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96" name="Google Shape;496;p8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497" name="Google Shape;497;p8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8" name="Google Shape;498;p8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99" name="Google Shape;499;p8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00" name="Google Shape;500;p8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501" name="Google Shape;501;p8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2" name="Google Shape;502;p8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5">
    <p:spTree>
      <p:nvGrpSpPr>
        <p:cNvPr id="1" name="Shape 5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4" name="Google Shape;504;p8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505" name="Google Shape;505;p8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506" name="Google Shape;506;p8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507" name="Google Shape;507;p8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08" name="Google Shape;508;p8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09" name="Google Shape;509;p8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510" name="Google Shape;510;p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3270214"/>
      </p:ext>
    </p:extLst>
  </p:cSld>
  <p:clrMapOvr>
    <a:masterClrMapping/>
  </p:clrMapOvr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8">
    <p:spTree>
      <p:nvGrpSpPr>
        <p:cNvPr id="1" name="Shape 5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" name="Google Shape;512;p8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13" name="Google Shape;513;p8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14" name="Google Shape;514;p8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8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16" name="Google Shape;516;p8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17" name="Google Shape;517;p8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18" name="Google Shape;518;p8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19" name="Google Shape;519;p8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20" name="Google Shape;520;p8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21" name="Google Shape;521;p8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22" name="Google Shape;522;p8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23" name="Google Shape;523;p8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9">
    <p:spTree>
      <p:nvGrpSpPr>
        <p:cNvPr id="1" name="Shape 5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5" name="Google Shape;525;p8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26" name="Google Shape;526;p8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7" name="Google Shape;527;p8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8" name="Google Shape;528;p8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29" name="Google Shape;529;p8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30" name="Google Shape;530;p8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31" name="Google Shape;531;p8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32" name="Google Shape;532;p8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33" name="Google Shape;533;p8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34" name="Google Shape;534;p8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35" name="Google Shape;535;p8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536" name="Google Shape;536;p8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4">
    <p:spTree>
      <p:nvGrpSpPr>
        <p:cNvPr id="1" name="Shape 5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8" name="Google Shape;538;p8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39" name="Google Shape;539;p8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540" name="Google Shape;540;p8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41" name="Google Shape;541;p8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42" name="Google Shape;542;p8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43" name="Google Shape;543;p8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44" name="Google Shape;544;p8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45" name="Google Shape;545;p8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8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47" name="Google Shape;547;p8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48" name="Google Shape;548;p8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4">
    <p:spTree>
      <p:nvGrpSpPr>
        <p:cNvPr id="1" name="Shape 5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50" name="Google Shape;550;p8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51" name="Google Shape;551;p8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52" name="Google Shape;552;p8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53" name="Google Shape;553;p8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54" name="Google Shape;554;p8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55" name="Google Shape;555;p8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56" name="Google Shape;556;p8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7" name="Google Shape;557;p8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8" name="Google Shape;558;p8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559" name="Google Shape;559;p8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" name="Google Shape;560;p8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61" name="Google Shape;561;p8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62" name="Google Shape;562;p8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3">
    <p:spTree>
      <p:nvGrpSpPr>
        <p:cNvPr id="1" name="Shape 5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64" name="Google Shape;564;p9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65" name="Google Shape;565;p9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66" name="Google Shape;566;p9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67" name="Google Shape;567;p9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68" name="Google Shape;568;p9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569" name="Google Shape;569;p9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70" name="Google Shape;570;p9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71" name="Google Shape;571;p9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72" name="Google Shape;572;p9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4"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74" name="Google Shape;574;p9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575" name="Google Shape;575;p9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76" name="Google Shape;576;p9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577" name="Google Shape;577;p9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78" name="Google Shape;578;p9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9" name="Google Shape;579;p9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580" name="Google Shape;580;p9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581" name="Google Shape;581;p9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4">
    <p:spTree>
      <p:nvGrpSpPr>
        <p:cNvPr id="1" name="Shape 5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" name="Google Shape;583;p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584" name="Google Shape;584;p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585" name="Google Shape;585;p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586" name="Google Shape;586;p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587" name="Google Shape;587;p9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588" name="Google Shape;588;p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589" name="Google Shape;589;p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590" name="Google Shape;590;p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6">
    <p:spTree>
      <p:nvGrpSpPr>
        <p:cNvPr id="1" name="Shape 5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2" name="Google Shape;592;p93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593" name="Google Shape;593;p93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" name="Google Shape;594;p93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595" name="Google Shape;595;p93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596" name="Google Shape;596;p93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597" name="Google Shape;597;p9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598" name="Google Shape;598;p93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599" name="Google Shape;599;p9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0">
    <p:spTree>
      <p:nvGrpSpPr>
        <p:cNvPr id="1" name="Shape 6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1" name="Google Shape;601;p94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02" name="Google Shape;602;p94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03" name="Google Shape;603;p94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" name="Google Shape;604;p9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05" name="Google Shape;605;p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06" name="Google Shape;606;p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07" name="Google Shape;607;p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08" name="Google Shape;608;p9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09" name="Google Shape;609;p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10" name="Google Shape;610;p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11" name="Google Shape;611;p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12" name="Google Shape;612;p94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6">
    <p:bg>
      <p:bgPr>
        <a:solidFill>
          <a:schemeClr val="lt2"/>
        </a:solidFill>
        <a:effectLst/>
      </p:bgPr>
    </p:bg>
    <p:spTree>
      <p:nvGrpSpPr>
        <p:cNvPr id="1" name="Shape 6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14" name="Google Shape;614;p95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615" name="Google Shape;615;p95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6" name="Google Shape;616;p9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17" name="Google Shape;617;p95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618" name="Google Shape;618;p9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619" name="Google Shape;619;p95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0" name="Google Shape;620;p95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4228870"/>
      </p:ext>
    </p:extLst>
  </p:cSld>
  <p:clrMapOvr>
    <a:masterClrMapping/>
  </p:clrMapOvr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1">
    <p:spTree>
      <p:nvGrpSpPr>
        <p:cNvPr id="1" name="Shape 6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2" name="Google Shape;622;p9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23" name="Google Shape;623;p9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24" name="Google Shape;624;p9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5" name="Google Shape;625;p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26" name="Google Shape;626;p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27" name="Google Shape;627;p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28" name="Google Shape;628;p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29" name="Google Shape;629;p9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0" name="Google Shape;630;p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1" name="Google Shape;631;p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2" name="Google Shape;632;p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633" name="Google Shape;633;p9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7">
    <p:spTree>
      <p:nvGrpSpPr>
        <p:cNvPr id="1" name="Shape 6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35" name="Google Shape;635;p9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36" name="Google Shape;636;p9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37" name="Google Shape;637;p9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38" name="Google Shape;638;p9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39" name="Google Shape;639;p9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40" name="Google Shape;640;p9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1" name="Google Shape;641;p9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2" name="Google Shape;642;p9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43" name="Google Shape;643;p9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44" name="Google Shape;644;p9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5">
    <p:spTree>
      <p:nvGrpSpPr>
        <p:cNvPr id="1" name="Shape 6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6" name="Google Shape;646;p9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47" name="Google Shape;647;p9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648" name="Google Shape;648;p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49" name="Google Shape;649;p9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50" name="Google Shape;650;p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51" name="Google Shape;651;p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52" name="Google Shape;652;p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53" name="Google Shape;653;p9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4" name="Google Shape;654;p9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55" name="Google Shape;655;p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56" name="Google Shape;656;p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5">
    <p:spTree>
      <p:nvGrpSpPr>
        <p:cNvPr id="1" name="Shape 6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58" name="Google Shape;658;p9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59" name="Google Shape;659;p9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60" name="Google Shape;660;p9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61" name="Google Shape;661;p9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62" name="Google Shape;662;p9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663" name="Google Shape;663;p9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64" name="Google Shape;664;p9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5" name="Google Shape;665;p9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" name="Google Shape;666;p9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667" name="Google Shape;667;p9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" name="Google Shape;668;p9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69" name="Google Shape;669;p9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70" name="Google Shape;670;p9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6">
    <p:spTree>
      <p:nvGrpSpPr>
        <p:cNvPr id="1" name="Shape 6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2" name="Google Shape;672;p10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673" name="Google Shape;673;p10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674" name="Google Shape;674;p10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675" name="Google Shape;675;p10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6" name="Google Shape;676;p10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77" name="Google Shape;677;p10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678" name="Google Shape;678;p10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5">
    <p:spTree>
      <p:nvGrpSpPr>
        <p:cNvPr id="1" name="Shape 6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80" name="Google Shape;680;p10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681" name="Google Shape;681;p10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82" name="Google Shape;682;p10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3" name="Google Shape;683;p10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84" name="Google Shape;684;p10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5" name="Google Shape;685;p10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686" name="Google Shape;686;p10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687" name="Google Shape;687;p10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5">
    <p:spTree>
      <p:nvGrpSpPr>
        <p:cNvPr id="1" name="Shape 6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9" name="Google Shape;689;p1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690" name="Google Shape;690;p1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691" name="Google Shape;691;p1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692" name="Google Shape;692;p1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3" name="Google Shape;693;p10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694" name="Google Shape;694;p1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95" name="Google Shape;695;p1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696" name="Google Shape;696;p1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4">
    <p:spTree>
      <p:nvGrpSpPr>
        <p:cNvPr id="1" name="Shape 6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98" name="Google Shape;698;p1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699" name="Google Shape;699;p10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00" name="Google Shape;700;p1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01" name="Google Shape;701;p1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02" name="Google Shape;702;p1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03" name="Google Shape;703;p1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4" name="Google Shape;704;p1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05" name="Google Shape;705;p1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06" name="Google Shape;706;p1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6">
    <p:spTree>
      <p:nvGrpSpPr>
        <p:cNvPr id="1" name="Shape 7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08" name="Google Shape;708;p10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709" name="Google Shape;709;p10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10" name="Google Shape;710;p10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11" name="Google Shape;711;p10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12" name="Google Shape;712;p10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3" name="Google Shape;713;p10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714" name="Google Shape;714;p10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715" name="Google Shape;715;p10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6">
    <p:spTree>
      <p:nvGrpSpPr>
        <p:cNvPr id="1" name="Shape 7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" name="Google Shape;717;p1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18" name="Google Shape;718;p1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19" name="Google Shape;719;p1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720" name="Google Shape;720;p1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21" name="Google Shape;721;p10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22" name="Google Shape;722;p1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23" name="Google Shape;723;p1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24" name="Google Shape;724;p1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248015493"/>
      </p:ext>
    </p:extLst>
  </p:cSld>
  <p:clrMapOvr>
    <a:masterClrMapping/>
  </p:clrMapOvr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7">
    <p:spTree>
      <p:nvGrpSpPr>
        <p:cNvPr id="1" name="Shape 7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6" name="Google Shape;726;p106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27" name="Google Shape;727;p106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28" name="Google Shape;728;p106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29" name="Google Shape;729;p106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30" name="Google Shape;730;p106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31" name="Google Shape;731;p10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32" name="Google Shape;732;p106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33" name="Google Shape;733;p1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5">
    <p:spTree>
      <p:nvGrpSpPr>
        <p:cNvPr id="1" name="Shape 7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5" name="Google Shape;735;p10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36" name="Google Shape;736;p10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37" name="Google Shape;737;p10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38" name="Google Shape;738;p10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39" name="Google Shape;739;p10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40" name="Google Shape;740;p10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41" name="Google Shape;741;p10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42" name="Google Shape;742;p10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43" name="Google Shape;743;p10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7">
    <p:bg>
      <p:bgPr>
        <a:solidFill>
          <a:schemeClr val="lt2"/>
        </a:solidFill>
        <a:effectLst/>
      </p:bgPr>
    </p:bg>
    <p:spTree>
      <p:nvGrpSpPr>
        <p:cNvPr id="1" name="Shape 7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45" name="Google Shape;745;p109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746" name="Google Shape;746;p109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7" name="Google Shape;747;p10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48" name="Google Shape;748;p109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49" name="Google Shape;749;p10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750" name="Google Shape;750;p109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51" name="Google Shape;751;p109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7">
    <p:spTree>
      <p:nvGrpSpPr>
        <p:cNvPr id="1" name="Shape 7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3" name="Google Shape;753;p110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754" name="Google Shape;754;p110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755" name="Google Shape;755;p110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756" name="Google Shape;756;p110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57" name="Google Shape;757;p110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758" name="Google Shape;758;p110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759" name="Google Shape;759;p11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8">
    <p:spTree>
      <p:nvGrpSpPr>
        <p:cNvPr id="1" name="Shape 7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1" name="Google Shape;761;p111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762" name="Google Shape;762;p111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63" name="Google Shape;763;p111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764" name="Google Shape;764;p11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765" name="Google Shape;765;p111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766" name="Google Shape;766;p111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767" name="Google Shape;767;p111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768" name="Google Shape;768;p11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8">
    <p:spTree>
      <p:nvGrpSpPr>
        <p:cNvPr id="1" name="Shape 7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70" name="Google Shape;770;p11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71" name="Google Shape;771;p11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72" name="Google Shape;772;p11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73" name="Google Shape;773;p11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4" name="Google Shape;774;p11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75" name="Google Shape;775;p11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6" name="Google Shape;776;p112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77" name="Google Shape;777;p11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78" name="Google Shape;778;p11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79" name="Google Shape;779;p11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6">
    <p:spTree>
      <p:nvGrpSpPr>
        <p:cNvPr id="1" name="Shape 7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81" name="Google Shape;781;p11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82" name="Google Shape;782;p11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83" name="Google Shape;783;p11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84" name="Google Shape;784;p11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85" name="Google Shape;785;p11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86" name="Google Shape;786;p11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7" name="Google Shape;787;p11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88" name="Google Shape;788;p113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89" name="Google Shape;789;p113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790" name="Google Shape;790;p11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791" name="Google Shape;791;p11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6">
    <p:spTree>
      <p:nvGrpSpPr>
        <p:cNvPr id="1" name="Shape 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93" name="Google Shape;793;p11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794" name="Google Shape;794;p11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795" name="Google Shape;795;p11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796" name="Google Shape;796;p11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7" name="Google Shape;797;p11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798" name="Google Shape;798;p11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9" name="Google Shape;799;p114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0" name="Google Shape;800;p114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1" name="Google Shape;801;p114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802" name="Google Shape;802;p114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03" name="Google Shape;803;p11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04" name="Google Shape;804;p11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05" name="Google Shape;805;p11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6">
    <p:spTree>
      <p:nvGrpSpPr>
        <p:cNvPr id="1" name="Shape 8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07" name="Google Shape;807;p11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08" name="Google Shape;808;p11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09" name="Google Shape;809;p11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10" name="Google Shape;810;p11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1" name="Google Shape;811;p11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812" name="Google Shape;812;p11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3" name="Google Shape;813;p11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14" name="Google Shape;814;p11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15" name="Google Shape;815;p11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2">
    <p:spTree>
      <p:nvGrpSpPr>
        <p:cNvPr id="1" name="Shape 81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7" name="Google Shape;817;p11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18" name="Google Shape;818;p11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19" name="Google Shape;819;p11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20" name="Google Shape;820;p1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21" name="Google Shape;821;p1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22" name="Google Shape;822;p1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23" name="Google Shape;823;p1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24" name="Google Shape;824;p1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25" name="Google Shape;825;p1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26" name="Google Shape;826;p1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27" name="Google Shape;827;p1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28" name="Google Shape;828;p11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5964228"/>
      </p:ext>
    </p:extLst>
  </p:cSld>
  <p:clrMapOvr>
    <a:masterClrMapping/>
  </p:clrMapOvr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7">
    <p:spTree>
      <p:nvGrpSpPr>
        <p:cNvPr id="1" name="Shape 8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30" name="Google Shape;830;p11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831" name="Google Shape;831;p11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2" name="Google Shape;832;p11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33" name="Google Shape;833;p11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34" name="Google Shape;834;p11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35" name="Google Shape;835;p11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836" name="Google Shape;836;p11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837" name="Google Shape;837;p11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9">
    <p:spTree>
      <p:nvGrpSpPr>
        <p:cNvPr id="1" name="Shape 8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9" name="Google Shape;839;p118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0" name="Google Shape;840;p118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41" name="Google Shape;841;p118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842" name="Google Shape;842;p118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843" name="Google Shape;843;p118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844" name="Google Shape;844;p118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45" name="Google Shape;845;p118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46" name="Google Shape;846;p11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">
    <p:spTree>
      <p:nvGrpSpPr>
        <p:cNvPr id="1" name="Shape 8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8" name="Google Shape;848;p11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49" name="Google Shape;849;p11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0" name="Google Shape;850;p11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1" name="Google Shape;851;p1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52" name="Google Shape;852;p1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53" name="Google Shape;853;p1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54" name="Google Shape;854;p1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55" name="Google Shape;855;p11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56" name="Google Shape;856;p1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57" name="Google Shape;857;p1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58" name="Google Shape;858;p1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59" name="Google Shape;859;p11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8">
    <p:bg>
      <p:bgPr>
        <a:solidFill>
          <a:schemeClr val="lt2"/>
        </a:solidFill>
        <a:effectLst/>
      </p:bgPr>
    </p:bg>
    <p:spTree>
      <p:nvGrpSpPr>
        <p:cNvPr id="1" name="Shape 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61" name="Google Shape;861;p12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862" name="Google Shape;862;p12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3" name="Google Shape;863;p12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4" name="Google Shape;864;p12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865" name="Google Shape;865;p12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866" name="Google Shape;866;p12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67" name="Google Shape;867;p12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8">
    <p:spTree>
      <p:nvGrpSpPr>
        <p:cNvPr id="1" name="Shape 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9" name="Google Shape;869;p12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870" name="Google Shape;870;p12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871" name="Google Shape;871;p12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872" name="Google Shape;872;p12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73" name="Google Shape;873;p12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4" name="Google Shape;874;p12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875" name="Google Shape;875;p1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3">
    <p:spTree>
      <p:nvGrpSpPr>
        <p:cNvPr id="1" name="Shape 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7" name="Google Shape;877;p12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78" name="Google Shape;878;p12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9" name="Google Shape;879;p12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80" name="Google Shape;880;p1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1" name="Google Shape;881;p1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82" name="Google Shape;882;p1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83" name="Google Shape;883;p1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84" name="Google Shape;884;p12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85" name="Google Shape;885;p1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86" name="Google Shape;886;p1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87" name="Google Shape;887;p1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888" name="Google Shape;888;p12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4">
    <p:spTree>
      <p:nvGrpSpPr>
        <p:cNvPr id="1" name="Shape 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0" name="Google Shape;890;p1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891" name="Google Shape;891;p1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" name="Google Shape;892;p1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93" name="Google Shape;893;p1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94" name="Google Shape;894;p1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5" name="Google Shape;895;p1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896" name="Google Shape;896;p1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897" name="Google Shape;897;p12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898" name="Google Shape;898;p1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899" name="Google Shape;899;p1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00" name="Google Shape;900;p1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01" name="Google Shape;901;p1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">
    <p:bg>
      <p:bgPr>
        <a:solidFill>
          <a:schemeClr val="lt1"/>
        </a:solidFill>
        <a:effectLst/>
      </p:bgPr>
    </p:bg>
    <p:spTree>
      <p:nvGrpSpPr>
        <p:cNvPr id="1" name="Shape 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3" name="Google Shape;903;p124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4" name="Google Shape;904;p124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5" name="Google Shape;905;p12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906" name="Google Shape;906;p124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907" name="Google Shape;907;p12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908" name="Google Shape;908;p124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09" name="Google Shape;909;p124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0" name="Google Shape;910;p124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1" name="Google Shape;911;p12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2" name="Google Shape;912;p12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913" name="Google Shape;913;p12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">
    <p:spTree>
      <p:nvGrpSpPr>
        <p:cNvPr id="1" name="Shape 9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5" name="Google Shape;915;p12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16" name="Google Shape;916;p12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7" name="Google Shape;917;p12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18" name="Google Shape;918;p12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19" name="Google Shape;919;p12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20" name="Google Shape;920;p12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21" name="Google Shape;921;p12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22" name="Google Shape;922;p12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23" name="Google Shape;923;p12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24" name="Google Shape;924;p12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25" name="Google Shape;925;p12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26" name="Google Shape;926;p12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7">
    <p:spTree>
      <p:nvGrpSpPr>
        <p:cNvPr id="1" name="Shape 9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8" name="Google Shape;928;p12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29" name="Google Shape;929;p12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30" name="Google Shape;930;p12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31" name="Google Shape;931;p12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32" name="Google Shape;932;p12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33" name="Google Shape;933;p12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34" name="Google Shape;934;p12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35" name="Google Shape;935;p126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36" name="Google Shape;936;p126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37" name="Google Shape;937;p12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38" name="Google Shape;938;p12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03719949"/>
      </p:ext>
    </p:extLst>
  </p:cSld>
  <p:clrMapOvr>
    <a:masterClrMapping/>
  </p:clrMapOvr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7">
    <p:spTree>
      <p:nvGrpSpPr>
        <p:cNvPr id="1" name="Shape 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40" name="Google Shape;940;p12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41" name="Google Shape;941;p12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42" name="Google Shape;942;p12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43" name="Google Shape;943;p12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4" name="Google Shape;944;p12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45" name="Google Shape;945;p12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46" name="Google Shape;946;p127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7" name="Google Shape;947;p127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8" name="Google Shape;948;p127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949" name="Google Shape;949;p127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50" name="Google Shape;950;p12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51" name="Google Shape;951;p12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52" name="Google Shape;952;p12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7">
    <p:spTree>
      <p:nvGrpSpPr>
        <p:cNvPr id="1" name="Shape 9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54" name="Google Shape;954;p1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55" name="Google Shape;955;p12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56" name="Google Shape;956;p1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57" name="Google Shape;957;p1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8" name="Google Shape;958;p1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959" name="Google Shape;959;p12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0" name="Google Shape;960;p1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61" name="Google Shape;961;p1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62" name="Google Shape;962;p1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8">
    <p:spTree>
      <p:nvGrpSpPr>
        <p:cNvPr id="1" name="Shape 9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64" name="Google Shape;964;p129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965" name="Google Shape;965;p129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966" name="Google Shape;966;p129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967" name="Google Shape;967;p129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68" name="Google Shape;968;p129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69" name="Google Shape;969;p129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970" name="Google Shape;970;p1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971" name="Google Shape;971;p12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2">
    <p:spTree>
      <p:nvGrpSpPr>
        <p:cNvPr id="1" name="Shape 9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3" name="Google Shape;973;p130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74" name="Google Shape;974;p130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75" name="Google Shape;975;p130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76" name="Google Shape;976;p1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77" name="Google Shape;977;p1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78" name="Google Shape;978;p1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79" name="Google Shape;979;p1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80" name="Google Shape;980;p1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81" name="Google Shape;981;p1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82" name="Google Shape;982;p1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3" name="Google Shape;983;p1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84" name="Google Shape;984;p130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2">
    <p:spTree>
      <p:nvGrpSpPr>
        <p:cNvPr id="1" name="Shape 9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86" name="Google Shape;986;p131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987" name="Google Shape;987;p131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88" name="Google Shape;988;p131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89" name="Google Shape;989;p13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990" name="Google Shape;990;p1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991" name="Google Shape;991;p1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992" name="Google Shape;992;p1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993" name="Google Shape;993;p1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994" name="Google Shape;994;p1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95" name="Google Shape;995;p1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6" name="Google Shape;996;p1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997" name="Google Shape;997;p131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0">
    <p:spTree>
      <p:nvGrpSpPr>
        <p:cNvPr id="1" name="Shape 9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99" name="Google Shape;999;p13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00" name="Google Shape;1000;p13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01" name="Google Shape;1001;p13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002" name="Google Shape;1002;p13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003" name="Google Shape;1003;p13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004" name="Google Shape;1004;p13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05" name="Google Shape;1005;p13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06" name="Google Shape;1006;p13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9">
    <p:bg>
      <p:bgPr>
        <a:solidFill>
          <a:schemeClr val="lt2"/>
        </a:solidFill>
        <a:effectLst/>
      </p:bgPr>
    </p:bg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08" name="Google Shape;1008;p13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009" name="Google Shape;1009;p13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0" name="Google Shape;1010;p13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11" name="Google Shape;1011;p13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012" name="Google Shape;1012;p13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013" name="Google Shape;1013;p13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4" name="Google Shape;1014;p13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9">
    <p:spTree>
      <p:nvGrpSpPr>
        <p:cNvPr id="1" name="Shape 10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16" name="Google Shape;1016;p13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7" name="Google Shape;1017;p13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018" name="Google Shape;1018;p13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019" name="Google Shape;1019;p13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20" name="Google Shape;1020;p13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21" name="Google Shape;1021;p13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022" name="Google Shape;1022;p13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5">
    <p:spTree>
      <p:nvGrpSpPr>
        <p:cNvPr id="1" name="Shape 10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" name="Google Shape;1024;p13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25" name="Google Shape;1025;p13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26" name="Google Shape;1026;p13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27" name="Google Shape;1027;p1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28" name="Google Shape;1028;p1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29" name="Google Shape;1029;p1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30" name="Google Shape;1030;p1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1" name="Google Shape;1031;p13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2" name="Google Shape;1032;p1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33" name="Google Shape;1033;p1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4" name="Google Shape;1034;p1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035" name="Google Shape;1035;p13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9">
    <p:spTree>
      <p:nvGrpSpPr>
        <p:cNvPr id="1" name="Shape 10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37" name="Google Shape;1037;p13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38" name="Google Shape;1038;p13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39" name="Google Shape;1039;p13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40" name="Google Shape;1040;p13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1" name="Google Shape;1041;p13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42" name="Google Shape;1042;p1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3" name="Google Shape;1043;p1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44" name="Google Shape;1044;p1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45" name="Google Shape;1045;p13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46" name="Google Shape;1046;p1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590515151"/>
      </p:ext>
    </p:extLst>
  </p:cSld>
  <p:clrMapOvr>
    <a:masterClrMapping/>
  </p:clrMapOvr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8">
    <p:spTree>
      <p:nvGrpSpPr>
        <p:cNvPr id="1" name="Shape 10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8" name="Google Shape;1048;p13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49" name="Google Shape;1049;p13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050" name="Google Shape;1050;p1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51" name="Google Shape;1051;p1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52" name="Google Shape;1052;p1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53" name="Google Shape;1053;p1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4" name="Google Shape;1054;p1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55" name="Google Shape;1055;p13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56" name="Google Shape;1056;p13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57" name="Google Shape;1057;p1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58" name="Google Shape;1058;p1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8">
    <p:spTree>
      <p:nvGrpSpPr>
        <p:cNvPr id="1" name="Shape 10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60" name="Google Shape;1060;p1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61" name="Google Shape;1061;p1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62" name="Google Shape;1062;p1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63" name="Google Shape;1063;p1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4" name="Google Shape;1064;p1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65" name="Google Shape;1065;p13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66" name="Google Shape;1066;p13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7" name="Google Shape;1067;p13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8" name="Google Shape;1068;p13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069" name="Google Shape;1069;p13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0" name="Google Shape;1070;p1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71" name="Google Shape;1071;p1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72" name="Google Shape;1072;p1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8">
    <p:spTree>
      <p:nvGrpSpPr>
        <p:cNvPr id="1" name="Shape 10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74" name="Google Shape;1074;p13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75" name="Google Shape;1075;p13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76" name="Google Shape;1076;p13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77" name="Google Shape;1077;p13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8" name="Google Shape;1078;p13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079" name="Google Shape;1079;p13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80" name="Google Shape;1080;p13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81" name="Google Shape;1081;p13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82" name="Google Shape;1082;p13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9">
    <p:spTree>
      <p:nvGrpSpPr>
        <p:cNvPr id="1" name="Shape 10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84" name="Google Shape;1084;p14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085" name="Google Shape;1085;p14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086" name="Google Shape;1086;p14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087" name="Google Shape;1087;p14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088" name="Google Shape;1088;p14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9" name="Google Shape;1089;p14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090" name="Google Shape;1090;p14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091" name="Google Shape;1091;p14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7">
    <p:spTree>
      <p:nvGrpSpPr>
        <p:cNvPr id="1" name="Shape 10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93" name="Google Shape;1093;p14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094" name="Google Shape;1094;p14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095" name="Google Shape;1095;p14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096" name="Google Shape;1096;p14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097" name="Google Shape;1097;p141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098" name="Google Shape;1098;p14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099" name="Google Shape;1099;p14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00" name="Google Shape;1100;p14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1">
    <p:spTree>
      <p:nvGrpSpPr>
        <p:cNvPr id="1" name="Shape 1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2" name="Google Shape;1102;p142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03" name="Google Shape;1103;p142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4" name="Google Shape;1104;p142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105" name="Google Shape;1105;p142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106" name="Google Shape;1106;p142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107" name="Google Shape;1107;p142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08" name="Google Shape;1108;p142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09" name="Google Shape;1109;p14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0">
    <p:bg>
      <p:bgPr>
        <a:solidFill>
          <a:schemeClr val="lt2"/>
        </a:solidFill>
        <a:effectLst/>
      </p:bgPr>
    </p:bg>
    <p:spTree>
      <p:nvGrpSpPr>
        <p:cNvPr id="1" name="Shape 11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11" name="Google Shape;1111;p143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112" name="Google Shape;1112;p143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3" name="Google Shape;1113;p143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4" name="Google Shape;1114;p143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115" name="Google Shape;1115;p14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16" name="Google Shape;1116;p143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17" name="Google Shape;1117;p143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0">
    <p:spTree>
      <p:nvGrpSpPr>
        <p:cNvPr id="1" name="Shape 11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19" name="Google Shape;1119;p144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120" name="Google Shape;1120;p144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121" name="Google Shape;1121;p144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122" name="Google Shape;1122;p144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23" name="Google Shape;1123;p144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4" name="Google Shape;1124;p144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125" name="Google Shape;1125;p14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6">
    <p:spTree>
      <p:nvGrpSpPr>
        <p:cNvPr id="1" name="Shape 112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7" name="Google Shape;1127;p145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28" name="Google Shape;1128;p145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29" name="Google Shape;1129;p145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0" name="Google Shape;1130;p14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31" name="Google Shape;1131;p14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32" name="Google Shape;1132;p14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33" name="Google Shape;1133;p14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34" name="Google Shape;1134;p14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35" name="Google Shape;1135;p14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36" name="Google Shape;1136;p14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37" name="Google Shape;1137;p14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138" name="Google Shape;1138;p145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0">
    <p:spTree>
      <p:nvGrpSpPr>
        <p:cNvPr id="1" name="Shape 1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40" name="Google Shape;1140;p14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41" name="Google Shape;1141;p14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42" name="Google Shape;1142;p14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43" name="Google Shape;1143;p14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44" name="Google Shape;1144;p14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45" name="Google Shape;1145;p14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46" name="Google Shape;1146;p14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7" name="Google Shape;1147;p14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48" name="Google Shape;1148;p14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49" name="Google Shape;1149;p14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810783"/>
      </p:ext>
    </p:extLst>
  </p:cSld>
  <p:clrMapOvr>
    <a:masterClrMapping/>
  </p:clrMapOvr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9">
    <p:spTree>
      <p:nvGrpSpPr>
        <p:cNvPr id="1" name="Shape 11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1" name="Google Shape;1151;p147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52" name="Google Shape;1152;p147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53" name="Google Shape;1153;p14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54" name="Google Shape;1154;p14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55" name="Google Shape;1155;p14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56" name="Google Shape;1156;p14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57" name="Google Shape;1157;p14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58" name="Google Shape;1158;p147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9" name="Google Shape;1159;p147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60" name="Google Shape;1160;p14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61" name="Google Shape;1161;p14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9">
    <p:spTree>
      <p:nvGrpSpPr>
        <p:cNvPr id="1" name="Shape 1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63" name="Google Shape;1163;p14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64" name="Google Shape;1164;p14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65" name="Google Shape;1165;p14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66" name="Google Shape;1166;p14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67" name="Google Shape;1167;p14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68" name="Google Shape;1168;p14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69" name="Google Shape;1169;p148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0" name="Google Shape;1170;p148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1" name="Google Shape;1171;p148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172" name="Google Shape;1172;p148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3" name="Google Shape;1173;p14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74" name="Google Shape;1174;p14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75" name="Google Shape;1175;p14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9">
    <p:spTree>
      <p:nvGrpSpPr>
        <p:cNvPr id="1" name="Shape 1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77" name="Google Shape;1177;p14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178" name="Google Shape;1178;p14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179" name="Google Shape;1179;p14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180" name="Google Shape;1180;p14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181" name="Google Shape;1181;p14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182" name="Google Shape;1182;p14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3" name="Google Shape;1183;p14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84" name="Google Shape;1184;p14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85" name="Google Shape;1185;p14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0">
    <p:spTree>
      <p:nvGrpSpPr>
        <p:cNvPr id="1" name="Shape 11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7" name="Google Shape;1187;p150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188" name="Google Shape;1188;p150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89" name="Google Shape;1189;p150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90" name="Google Shape;1190;p150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191" name="Google Shape;1191;p150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2" name="Google Shape;1192;p150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193" name="Google Shape;1193;p15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194" name="Google Shape;1194;p150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8">
    <p:spTree>
      <p:nvGrpSpPr>
        <p:cNvPr id="1" name="Shape 11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6" name="Google Shape;1196;p15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197" name="Google Shape;1197;p15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198" name="Google Shape;1198;p15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199" name="Google Shape;1199;p15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00" name="Google Shape;1200;p15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01" name="Google Shape;1201;p15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02" name="Google Shape;1202;p15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03" name="Google Shape;1203;p15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Quotation">
  <p:cSld name="3_Quotation 3">
    <p:spTree>
      <p:nvGrpSpPr>
        <p:cNvPr id="1" name="Shape 120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05" name="Google Shape;1205;p15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06" name="Google Shape;1206;p15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07" name="Google Shape;1207;p15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8" name="Google Shape;1208;p15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209" name="Google Shape;1209;p15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210" name="Google Shape;1210;p15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211" name="Google Shape;1211;p15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212" name="Google Shape;1212;p15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213" name="Google Shape;1213;p15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214" name="Google Shape;1214;p15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15" name="Google Shape;1215;p15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216" name="Google Shape;1216;p15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2">
    <p:spTree>
      <p:nvGrpSpPr>
        <p:cNvPr id="1" name="Shape 12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8" name="Google Shape;1218;p153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9" name="Google Shape;1219;p153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220" name="Google Shape;1220;p153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221" name="Google Shape;1221;p153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22" name="Google Shape;1222;p153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223" name="Google Shape;1223;p15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12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5" name="Google Shape;1225;p154"/>
          <p:cNvSpPr txBox="1"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6" name="Google Shape;1226;p154"/>
          <p:cNvSpPr txBox="1"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227" name="Google Shape;1227;p15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28" name="Google Shape;1228;p15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29" name="Google Shape;1229;p15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">
    <p:spTree>
      <p:nvGrpSpPr>
        <p:cNvPr id="1" name="Shape 1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1" name="Google Shape;1231;p155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2" name="Google Shape;1232;p155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3" name="Google Shape;1233;p155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34" name="Google Shape;1234;p15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35" name="Google Shape;1235;p15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36" name="Google Shape;1236;p155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7" name="Google Shape;1237;p155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38" name="Google Shape;1238;p155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39" name="Google Shape;1239;p1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2">
    <p:spTree>
      <p:nvGrpSpPr>
        <p:cNvPr id="1" name="Shape 124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1" name="Google Shape;1241;p156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42" name="Google Shape;1242;p156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3" name="Google Shape;1243;p15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44" name="Google Shape;1244;p15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45" name="Google Shape;1245;p15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46" name="Google Shape;1246;p156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7" name="Google Shape;1247;p156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48" name="Google Shape;1248;p156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49" name="Google Shape;1249;p1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78274380"/>
      </p:ext>
    </p:extLst>
  </p:cSld>
  <p:clrMapOvr>
    <a:masterClrMapping/>
  </p:clrMapOvr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">
    <p:spTree>
      <p:nvGrpSpPr>
        <p:cNvPr id="1" name="Shape 12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1" name="Google Shape;1251;p157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2" name="Google Shape;1252;p15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3" name="Google Shape;1253;p15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54" name="Google Shape;1254;p157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55" name="Google Shape;1255;p15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">
    <p:spTree>
      <p:nvGrpSpPr>
        <p:cNvPr id="1" name="Shape 1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7" name="Google Shape;1257;p15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58" name="Google Shape;1258;p15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59" name="Google Shape;1259;p15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0" name="Google Shape;1260;p158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61" name="Google Shape;1261;p158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">
    <p:spTree>
      <p:nvGrpSpPr>
        <p:cNvPr id="1" name="Shape 12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3" name="Google Shape;1263;p15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4" name="Google Shape;1264;p15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65" name="Google Shape;1265;p159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6" name="Google Shape;1266;p159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67" name="Google Shape;1267;p159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68" name="Google Shape;1268;p15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3">
    <p:spTree>
      <p:nvGrpSpPr>
        <p:cNvPr id="1" name="Shape 1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" name="Google Shape;1270;p160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71" name="Google Shape;1271;p160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2" name="Google Shape;1272;p160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73" name="Google Shape;1273;p16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74" name="Google Shape;1274;p16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75" name="Google Shape;1275;p160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6" name="Google Shape;1276;p160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77" name="Google Shape;1277;p160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78" name="Google Shape;1278;p1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2">
    <p:spTree>
      <p:nvGrpSpPr>
        <p:cNvPr id="1" name="Shape 1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" name="Google Shape;1280;p161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1" name="Google Shape;1281;p16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2" name="Google Shape;1282;p16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3" name="Google Shape;1283;p161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84" name="Google Shape;1284;p16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2"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16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287" name="Google Shape;1287;p1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288" name="Google Shape;1288;p16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89" name="Google Shape;1289;p162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90" name="Google Shape;1290;p162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2"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16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3" name="Google Shape;1293;p16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294" name="Google Shape;1294;p163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5" name="Google Shape;1295;p163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96" name="Google Shape;1296;p163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97" name="Google Shape;1297;p16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4">
    <p:spTree>
      <p:nvGrpSpPr>
        <p:cNvPr id="1" name="Shape 12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9" name="Google Shape;1299;p164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00" name="Google Shape;1300;p164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1" name="Google Shape;1301;p16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02" name="Google Shape;1302;p16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03" name="Google Shape;1303;p16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04" name="Google Shape;1304;p164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5" name="Google Shape;1305;p164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06" name="Google Shape;1306;p164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07" name="Google Shape;1307;p1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3">
    <p:spTree>
      <p:nvGrpSpPr>
        <p:cNvPr id="1" name="Shape 13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9" name="Google Shape;1309;p165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0" name="Google Shape;1310;p16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1" name="Google Shape;1311;p16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2" name="Google Shape;1312;p165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13" name="Google Shape;1313;p1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3">
    <p:spTree>
      <p:nvGrpSpPr>
        <p:cNvPr id="1" name="Shape 13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5" name="Google Shape;1315;p16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16" name="Google Shape;1316;p16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17" name="Google Shape;1317;p16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18" name="Google Shape;1318;p166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19" name="Google Shape;1319;p166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08841809"/>
      </p:ext>
    </p:extLst>
  </p:cSld>
  <p:clrMapOvr>
    <a:masterClrMapping/>
  </p:clrMapOvr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3">
    <p:spTree>
      <p:nvGrpSpPr>
        <p:cNvPr id="1" name="Shape 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Google Shape;1321;p16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2" name="Google Shape;1322;p16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23" name="Google Shape;1323;p167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4" name="Google Shape;1324;p167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5" name="Google Shape;1325;p167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26" name="Google Shape;1326;p1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5">
    <p:spTree>
      <p:nvGrpSpPr>
        <p:cNvPr id="1" name="Shape 13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8" name="Google Shape;1328;p16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29" name="Google Shape;1329;p16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0" name="Google Shape;1330;p16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31" name="Google Shape;1331;p16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32" name="Google Shape;1332;p16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33" name="Google Shape;1333;p16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4" name="Google Shape;1334;p16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35" name="Google Shape;1335;p16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36" name="Google Shape;1336;p16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6">
    <p:spTree>
      <p:nvGrpSpPr>
        <p:cNvPr id="1" name="Shape 13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8" name="Google Shape;1338;p169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39" name="Google Shape;1339;p169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0" name="Google Shape;1340;p169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41" name="Google Shape;1341;p16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2" name="Google Shape;1342;p16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43" name="Google Shape;1343;p169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4" name="Google Shape;1344;p169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45" name="Google Shape;1345;p169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46" name="Google Shape;1346;p16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4">
    <p:spTree>
      <p:nvGrpSpPr>
        <p:cNvPr id="1" name="Shape 13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48" name="Google Shape;1348;p170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49" name="Google Shape;1349;p17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0" name="Google Shape;1350;p17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1" name="Google Shape;1351;p170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352" name="Google Shape;1352;p17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4">
    <p:spTree>
      <p:nvGrpSpPr>
        <p:cNvPr id="1" name="Shape 13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4" name="Google Shape;1354;p17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355" name="Google Shape;1355;p17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356" name="Google Shape;1356;p17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57" name="Google Shape;1357;p171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58" name="Google Shape;1358;p171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4">
    <p:spTree>
      <p:nvGrpSpPr>
        <p:cNvPr id="1" name="Shape 13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0" name="Google Shape;1360;p172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1" name="Google Shape;1361;p172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62" name="Google Shape;1362;p172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3" name="Google Shape;1363;p172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64" name="Google Shape;1364;p172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365" name="Google Shape;1365;p17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13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7" name="Google Shape;1367;p173"/>
          <p:cNvSpPr txBox="1">
            <a:spLocks noGrp="1"/>
          </p:cNvSpPr>
          <p:nvPr>
            <p:ph type="title"/>
          </p:nvPr>
        </p:nvSpPr>
        <p:spPr>
          <a:xfrm>
            <a:off x="963084" y="4406903"/>
            <a:ext cx="10363200" cy="13620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4000"/>
              <a:buFont typeface="Calibri"/>
              <a:buNone/>
              <a:defRPr sz="4000" b="1" cap="none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8" name="Google Shape;1368;p173"/>
          <p:cNvSpPr txBox="1"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>
                <a:solidFill>
                  <a:srgbClr val="919497"/>
                </a:solidFill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>
                <a:solidFill>
                  <a:srgbClr val="919497"/>
                </a:solidFill>
              </a:defRPr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>
                <a:solidFill>
                  <a:srgbClr val="919497"/>
                </a:solidFill>
              </a:defRPr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rgbClr val="919497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919497"/>
              </a:buClr>
              <a:buSzPts val="1400"/>
              <a:buNone/>
              <a:defRPr sz="1400">
                <a:solidFill>
                  <a:srgbClr val="919497"/>
                </a:solidFill>
              </a:defRPr>
            </a:lvl9pPr>
          </a:lstStyle>
          <a:p>
            <a:endParaRPr/>
          </a:p>
        </p:txBody>
      </p:sp>
      <p:sp>
        <p:nvSpPr>
          <p:cNvPr id="1369" name="Google Shape;1369;p173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0" name="Google Shape;1370;p17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1" name="Google Shape;1371;p17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with Caption" type="objTx">
  <p:cSld name="OBJECT_WITH_CAPTION_TEXT">
    <p:spTree>
      <p:nvGrpSpPr>
        <p:cNvPr id="1" name="Shape 13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3" name="Google Shape;1373;p174"/>
          <p:cNvSpPr txBox="1">
            <a:spLocks noGrp="1"/>
          </p:cNvSpPr>
          <p:nvPr>
            <p:ph type="title"/>
          </p:nvPr>
        </p:nvSpPr>
        <p:spPr>
          <a:xfrm>
            <a:off x="609605" y="273051"/>
            <a:ext cx="4011084" cy="116205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Calibri"/>
              <a:buNone/>
              <a:defRPr sz="2000" b="1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4" name="Google Shape;1374;p174"/>
          <p:cNvSpPr txBox="1">
            <a:spLocks noGrp="1"/>
          </p:cNvSpPr>
          <p:nvPr>
            <p:ph type="body" idx="1"/>
          </p:nvPr>
        </p:nvSpPr>
        <p:spPr>
          <a:xfrm>
            <a:off x="4766733" y="273054"/>
            <a:ext cx="6815667" cy="58531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4318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Char char="•"/>
              <a:defRPr sz="3200"/>
            </a:lvl1pPr>
            <a:lvl2pPr marL="914400" lvl="1" indent="-4064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800"/>
              <a:buChar char="•"/>
              <a:defRPr sz="2800"/>
            </a:lvl2pPr>
            <a:lvl3pPr marL="1371600" lvl="2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 sz="2400"/>
            </a:lvl3pPr>
            <a:lvl4pPr marL="1828800" lvl="3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4pPr>
            <a:lvl5pPr marL="2286000" lvl="4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5pPr>
            <a:lvl6pPr marL="2743200" lvl="5" indent="-355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6pPr>
            <a:lvl7pPr marL="3200400" lvl="6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7pPr>
            <a:lvl8pPr marL="3657600" lvl="7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8pPr>
            <a:lvl9pPr marL="4114800" lvl="8" indent="-355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Char char="•"/>
              <a:defRPr sz="2000"/>
            </a:lvl9pPr>
          </a:lstStyle>
          <a:p>
            <a:endParaRPr/>
          </a:p>
        </p:txBody>
      </p:sp>
      <p:sp>
        <p:nvSpPr>
          <p:cNvPr id="1375" name="Google Shape;1375;p174"/>
          <p:cNvSpPr txBox="1">
            <a:spLocks noGrp="1"/>
          </p:cNvSpPr>
          <p:nvPr>
            <p:ph type="body" idx="2"/>
          </p:nvPr>
        </p:nvSpPr>
        <p:spPr>
          <a:xfrm>
            <a:off x="609605" y="1435103"/>
            <a:ext cx="4011084" cy="46910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/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000"/>
              <a:buNone/>
              <a:defRPr sz="1000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900"/>
              <a:buNone/>
              <a:defRPr sz="900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9pPr>
          </a:lstStyle>
          <a:p>
            <a:endParaRPr/>
          </a:p>
        </p:txBody>
      </p:sp>
      <p:sp>
        <p:nvSpPr>
          <p:cNvPr id="1376" name="Google Shape;1376;p174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377" name="Google Shape;1377;p17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78" name="Google Shape;1378;p174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">
    <p:spTree>
      <p:nvGrpSpPr>
        <p:cNvPr id="1" name="Shape 1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0" name="Google Shape;1380;p175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81" name="Google Shape;1381;p175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2" name="Google Shape;1382;p175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83" name="Google Shape;1383;p175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384" name="Google Shape;1384;p175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85" name="Google Shape;1385;p175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386" name="Google Shape;1386;p175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87" name="Google Shape;1387;p175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388" name="Google Shape;1388;p1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">
    <p:spTree>
      <p:nvGrpSpPr>
        <p:cNvPr id="1" name="Shape 1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0" name="Google Shape;1390;p176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391" name="Google Shape;1391;p176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92" name="Google Shape;1392;p176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393" name="Google Shape;1393;p17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394" name="Google Shape;1394;p17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95" name="Google Shape;1395;p17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396" name="Google Shape;1396;p17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397" name="Google Shape;1397;p17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398" name="Google Shape;1398;p17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399" name="Google Shape;1399;p17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400" name="Google Shape;1400;p17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401" name="Google Shape;1401;p176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68296633"/>
      </p:ext>
    </p:extLst>
  </p:cSld>
  <p:clrMapOvr>
    <a:masterClrMapping/>
  </p:clrMapOvr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EVERYDAY - CONTENT ONLY">
  <p:cSld name="EVERYDAY - CONTENT ONLY 2">
    <p:spTree>
      <p:nvGrpSpPr>
        <p:cNvPr id="1" name="Shape 14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3" name="Google Shape;1403;p177"/>
          <p:cNvSpPr/>
          <p:nvPr/>
        </p:nvSpPr>
        <p:spPr>
          <a:xfrm>
            <a:off x="0" y="0"/>
            <a:ext cx="12192000" cy="1313056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dk2"/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04" name="Google Shape;1404;p177"/>
          <p:cNvSpPr/>
          <p:nvPr/>
        </p:nvSpPr>
        <p:spPr>
          <a:xfrm>
            <a:off x="6863643" y="16267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5" name="Google Shape;1405;p177"/>
          <p:cNvSpPr txBox="1">
            <a:spLocks noGrp="1"/>
          </p:cNvSpPr>
          <p:nvPr>
            <p:ph type="body" idx="1"/>
          </p:nvPr>
        </p:nvSpPr>
        <p:spPr>
          <a:xfrm>
            <a:off x="508540" y="1707786"/>
            <a:ext cx="11203664" cy="46485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810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>
                <a:solidFill>
                  <a:srgbClr val="4B545E"/>
                </a:solidFill>
              </a:defRPr>
            </a:lvl1pPr>
            <a:lvl2pPr marL="914400" lvl="1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>
                <a:solidFill>
                  <a:srgbClr val="4B545E"/>
                </a:solidFill>
              </a:defRPr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>
                <a:solidFill>
                  <a:srgbClr val="4B545E"/>
                </a:solidFill>
              </a:defRPr>
            </a:lvl3pPr>
            <a:lvl4pPr marL="1828800" lvl="3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4pPr>
            <a:lvl5pPr marL="2286000" lvl="4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>
                <a:solidFill>
                  <a:srgbClr val="4B545E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06" name="Google Shape;1406;p177"/>
          <p:cNvSpPr/>
          <p:nvPr/>
        </p:nvSpPr>
        <p:spPr>
          <a:xfrm>
            <a:off x="6863643" y="519648"/>
            <a:ext cx="5328356" cy="812272"/>
          </a:xfrm>
          <a:custGeom>
            <a:avLst/>
            <a:gdLst/>
            <a:ahLst/>
            <a:cxnLst/>
            <a:rect l="l" t="t" r="r" b="b"/>
            <a:pathLst>
              <a:path w="21600" h="20619" extrusionOk="0">
                <a:moveTo>
                  <a:pt x="0" y="7043"/>
                </a:moveTo>
                <a:cubicBezTo>
                  <a:pt x="1599" y="10431"/>
                  <a:pt x="3359" y="12009"/>
                  <a:pt x="5125" y="11638"/>
                </a:cubicBezTo>
                <a:cubicBezTo>
                  <a:pt x="8965" y="10834"/>
                  <a:pt x="12429" y="1037"/>
                  <a:pt x="16255" y="77"/>
                </a:cubicBezTo>
                <a:cubicBezTo>
                  <a:pt x="18093" y="-385"/>
                  <a:pt x="19927" y="1227"/>
                  <a:pt x="21590" y="4766"/>
                </a:cubicBezTo>
                <a:lnTo>
                  <a:pt x="21600" y="14041"/>
                </a:lnTo>
                <a:cubicBezTo>
                  <a:pt x="19718" y="9870"/>
                  <a:pt x="17612" y="8157"/>
                  <a:pt x="15523" y="9097"/>
                </a:cubicBezTo>
                <a:cubicBezTo>
                  <a:pt x="12138" y="10620"/>
                  <a:pt x="9076" y="19001"/>
                  <a:pt x="5674" y="20410"/>
                </a:cubicBezTo>
                <a:cubicBezTo>
                  <a:pt x="3728" y="21215"/>
                  <a:pt x="1770" y="19679"/>
                  <a:pt x="0" y="15961"/>
                </a:cubicBezTo>
                <a:lnTo>
                  <a:pt x="0" y="7043"/>
                </a:lnTo>
                <a:close/>
              </a:path>
            </a:pathLst>
          </a:custGeom>
          <a:gradFill>
            <a:gsLst>
              <a:gs pos="0">
                <a:srgbClr val="1C498B">
                  <a:alpha val="0"/>
                </a:srgbClr>
              </a:gs>
              <a:gs pos="100000">
                <a:srgbClr val="1C498B">
                  <a:alpha val="62352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525"/>
              <a:buFont typeface="Arial"/>
              <a:buNone/>
            </a:pPr>
            <a:endParaRPr sz="1525" b="0" i="0" u="none" strike="noStrike" cap="none">
              <a:solidFill>
                <a:srgbClr val="FFFFFF"/>
              </a:solidFill>
              <a:latin typeface="Helvetica Neue"/>
              <a:ea typeface="Helvetica Neue"/>
              <a:cs typeface="Helvetica Neue"/>
              <a:sym typeface="Helvetica Neue"/>
            </a:endParaRPr>
          </a:p>
        </p:txBody>
      </p:sp>
      <p:sp>
        <p:nvSpPr>
          <p:cNvPr id="1407" name="Google Shape;1407;p177"/>
          <p:cNvSpPr txBox="1">
            <a:spLocks noGrp="1"/>
          </p:cNvSpPr>
          <p:nvPr>
            <p:ph type="title"/>
          </p:nvPr>
        </p:nvSpPr>
        <p:spPr>
          <a:xfrm>
            <a:off x="304800" y="170056"/>
            <a:ext cx="11430000" cy="1143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3200"/>
              <a:buFont typeface="Calibri"/>
              <a:buNone/>
              <a:defRPr sz="3200" b="1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08" name="Google Shape;1408;p177"/>
          <p:cNvSpPr txBox="1">
            <a:spLocks noGrp="1"/>
          </p:cNvSpPr>
          <p:nvPr>
            <p:ph type="body" idx="2"/>
          </p:nvPr>
        </p:nvSpPr>
        <p:spPr>
          <a:xfrm>
            <a:off x="332187" y="953346"/>
            <a:ext cx="11430112" cy="415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None/>
              <a:defRPr sz="1400">
                <a:solidFill>
                  <a:schemeClr val="lt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409" name="Google Shape;1409;p177"/>
          <p:cNvCxnSpPr/>
          <p:nvPr/>
        </p:nvCxnSpPr>
        <p:spPr>
          <a:xfrm>
            <a:off x="11311725" y="6447272"/>
            <a:ext cx="0" cy="267883"/>
          </a:xfrm>
          <a:prstGeom prst="straightConnector1">
            <a:avLst/>
          </a:prstGeom>
          <a:noFill/>
          <a:ln w="9525" cap="flat" cmpd="sng">
            <a:solidFill>
              <a:srgbClr val="7F7F7F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410" name="Google Shape;1410;p177"/>
          <p:cNvSpPr txBox="1">
            <a:spLocks noGrp="1"/>
          </p:cNvSpPr>
          <p:nvPr>
            <p:ph type="sldNum" idx="12"/>
          </p:nvPr>
        </p:nvSpPr>
        <p:spPr>
          <a:xfrm>
            <a:off x="11202595" y="6454533"/>
            <a:ext cx="559704" cy="3191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rgbClr val="7F7F7F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411" name="Google Shape;1411;p17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96461" y="6492240"/>
            <a:ext cx="1606135" cy="229238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7">
    <p:spTree>
      <p:nvGrpSpPr>
        <p:cNvPr id="1" name="Shape 14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" name="Google Shape;1413;p178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14" name="Google Shape;1414;p178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5" name="Google Shape;1415;p178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16" name="Google Shape;1416;p17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17" name="Google Shape;1417;p17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18" name="Google Shape;1418;p178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19" name="Google Shape;1419;p178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0" name="Google Shape;1420;p178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21" name="Google Shape;1421;p17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5">
    <p:spTree>
      <p:nvGrpSpPr>
        <p:cNvPr id="1" name="Shape 14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" name="Google Shape;1423;p179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4" name="Google Shape;1424;p179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5" name="Google Shape;1425;p179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26" name="Google Shape;1426;p179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27" name="Google Shape;1427;p17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5">
    <p:spTree>
      <p:nvGrpSpPr>
        <p:cNvPr id="1" name="Shape 14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9" name="Google Shape;1429;p180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30" name="Google Shape;1430;p180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31" name="Google Shape;1431;p180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2" name="Google Shape;1432;p180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33" name="Google Shape;1433;p180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5">
    <p:spTree>
      <p:nvGrpSpPr>
        <p:cNvPr id="1" name="Shape 14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5" name="Google Shape;1435;p181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6" name="Google Shape;1436;p181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37" name="Google Shape;1437;p181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8" name="Google Shape;1438;p181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39" name="Google Shape;1439;p181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40" name="Google Shape;1440;p18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8">
    <p:spTree>
      <p:nvGrpSpPr>
        <p:cNvPr id="1" name="Shape 14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2" name="Google Shape;1442;p182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43" name="Google Shape;1443;p182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4" name="Google Shape;1444;p182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445" name="Google Shape;1445;p18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46" name="Google Shape;1446;p18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447" name="Google Shape;1447;p182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8" name="Google Shape;1448;p182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49" name="Google Shape;1449;p182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0" name="Google Shape;1450;p18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6">
    <p:spTree>
      <p:nvGrpSpPr>
        <p:cNvPr id="1" name="Shape 14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2" name="Google Shape;1452;p183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53" name="Google Shape;1453;p183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4" name="Google Shape;1454;p183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55" name="Google Shape;1455;p183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56" name="Google Shape;1456;p183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6">
    <p:spTree>
      <p:nvGrpSpPr>
        <p:cNvPr id="1" name="Shape 14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58" name="Google Shape;1458;p184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59" name="Google Shape;1459;p18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60" name="Google Shape;1460;p184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1" name="Google Shape;1461;p184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62" name="Google Shape;1462;p184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6">
    <p:spTree>
      <p:nvGrpSpPr>
        <p:cNvPr id="1" name="Shape 14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4" name="Google Shape;1464;p185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5" name="Google Shape;1465;p185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66" name="Google Shape;1466;p185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7" name="Google Shape;1467;p185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68" name="Google Shape;1468;p185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69" name="Google Shape;1469;p18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ullets Layout">
  <p:cSld name="Title and Bullets Layout 7">
    <p:spTree>
      <p:nvGrpSpPr>
        <p:cNvPr id="1" name="Shape 14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1" name="Google Shape;1471;p186"/>
          <p:cNvSpPr txBox="1">
            <a:spLocks noGrp="1"/>
          </p:cNvSpPr>
          <p:nvPr>
            <p:ph type="title"/>
          </p:nvPr>
        </p:nvSpPr>
        <p:spPr>
          <a:xfrm>
            <a:off x="848990" y="783845"/>
            <a:ext cx="10177757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72" name="Google Shape;1472;p186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3" name="Google Shape;1473;p186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74" name="Google Shape;1474;p186"/>
          <p:cNvSpPr txBox="1">
            <a:spLocks noGrp="1"/>
          </p:cNvSpPr>
          <p:nvPr>
            <p:ph type="body" idx="1"/>
          </p:nvPr>
        </p:nvSpPr>
        <p:spPr>
          <a:xfrm>
            <a:off x="848784" y="1615018"/>
            <a:ext cx="10176933" cy="381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Font typeface="Arial"/>
              <a:buChar char="•"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640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133"/>
              <a:buChar char="•"/>
              <a:defRPr sz="2133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475" name="Google Shape;1475;p186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3854968"/>
      </p:ext>
    </p:extLst>
  </p:cSld>
  <p:clrMapOvr>
    <a:masterClrMapping/>
  </p:clrMapOvr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Title and Content">
  <p:cSld name="1_Title and Content 7">
    <p:spTree>
      <p:nvGrpSpPr>
        <p:cNvPr id="1" name="Shape 14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7" name="Google Shape;1477;p187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478" name="Google Shape;1478;p18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  <p:sp>
        <p:nvSpPr>
          <p:cNvPr id="1479" name="Google Shape;1479;p187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0" name="Google Shape;1480;p187"/>
          <p:cNvSpPr txBox="1">
            <a:spLocks noGrp="1"/>
          </p:cNvSpPr>
          <p:nvPr>
            <p:ph type="title"/>
          </p:nvPr>
        </p:nvSpPr>
        <p:spPr>
          <a:xfrm>
            <a:off x="848989" y="806856"/>
            <a:ext cx="10156179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1" name="Google Shape;1481;p187"/>
          <p:cNvSpPr txBox="1">
            <a:spLocks noGrp="1"/>
          </p:cNvSpPr>
          <p:nvPr>
            <p:ph type="body" idx="1"/>
          </p:nvPr>
        </p:nvSpPr>
        <p:spPr>
          <a:xfrm>
            <a:off x="848989" y="1637853"/>
            <a:ext cx="10156179" cy="41171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Section | Picture and Copy Layout">
  <p:cSld name="Two Section | Picture and Copy Layout 7">
    <p:spTree>
      <p:nvGrpSpPr>
        <p:cNvPr id="1" name="Shape 14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3" name="Google Shape;1483;p188"/>
          <p:cNvSpPr/>
          <p:nvPr/>
        </p:nvSpPr>
        <p:spPr>
          <a:xfrm>
            <a:off x="0" y="6313117"/>
            <a:ext cx="12192000" cy="544883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4" name="Google Shape;1484;p188"/>
          <p:cNvSpPr/>
          <p:nvPr/>
        </p:nvSpPr>
        <p:spPr>
          <a:xfrm>
            <a:off x="0" y="6301514"/>
            <a:ext cx="12192000" cy="45719"/>
          </a:xfrm>
          <a:prstGeom prst="rect">
            <a:avLst/>
          </a:prstGeom>
          <a:solidFill>
            <a:srgbClr val="A4D65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51"/>
              <a:buFont typeface="Arial"/>
              <a:buNone/>
            </a:pPr>
            <a:endParaRPr sz="1351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85" name="Google Shape;1485;p188"/>
          <p:cNvSpPr txBox="1">
            <a:spLocks noGrp="1"/>
          </p:cNvSpPr>
          <p:nvPr>
            <p:ph type="body" idx="1"/>
          </p:nvPr>
        </p:nvSpPr>
        <p:spPr>
          <a:xfrm>
            <a:off x="1186832" y="1294452"/>
            <a:ext cx="3983336" cy="37880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200"/>
              <a:buNone/>
              <a:defRPr sz="1200" b="0" i="1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6" name="Google Shape;1486;p188"/>
          <p:cNvSpPr txBox="1">
            <a:spLocks noGrp="1"/>
          </p:cNvSpPr>
          <p:nvPr>
            <p:ph type="body" idx="2"/>
          </p:nvPr>
        </p:nvSpPr>
        <p:spPr>
          <a:xfrm>
            <a:off x="5549395" y="1997127"/>
            <a:ext cx="5466561" cy="30854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2133"/>
              <a:buFont typeface="Arial"/>
              <a:buNone/>
              <a:defRPr sz="2133" b="0">
                <a:solidFill>
                  <a:schemeClr val="dk1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7154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 b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487" name="Google Shape;1487;p188"/>
          <p:cNvSpPr txBox="1">
            <a:spLocks noGrp="1"/>
          </p:cNvSpPr>
          <p:nvPr>
            <p:ph type="title"/>
          </p:nvPr>
        </p:nvSpPr>
        <p:spPr>
          <a:xfrm>
            <a:off x="5549395" y="1154526"/>
            <a:ext cx="5466561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B5C"/>
              </a:buClr>
              <a:buSzPts val="4800"/>
              <a:buFont typeface="Verdana"/>
              <a:buNone/>
              <a:defRPr sz="4800" b="1" i="0">
                <a:solidFill>
                  <a:srgbClr val="003B5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488" name="Google Shape;1488;p188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132672" y="6364408"/>
            <a:ext cx="5059328" cy="49359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2">
    <p:spTree>
      <p:nvGrpSpPr>
        <p:cNvPr id="1" name="Shape 1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90" name="Google Shape;1490;p18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491" name="Google Shape;1491;p18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92" name="Google Shape;1492;p18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493" name="Google Shape;1493;p18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494" name="Google Shape;1494;p18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495" name="Google Shape;1495;p18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6" name="Google Shape;1496;p18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497" name="Google Shape;1497;p18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1">
    <p:bg>
      <p:bgPr>
        <a:solidFill>
          <a:schemeClr val="lt2"/>
        </a:solidFill>
        <a:effectLst/>
      </p:bgPr>
    </p:bg>
    <p:spTree>
      <p:nvGrpSpPr>
        <p:cNvPr id="1" name="Shape 14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99" name="Google Shape;1499;p19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500" name="Google Shape;1500;p19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1" name="Google Shape;1501;p19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02" name="Google Shape;1502;p19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503" name="Google Shape;1503;p19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504" name="Google Shape;1504;p19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05" name="Google Shape;1505;p19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1">
    <p:spTree>
      <p:nvGrpSpPr>
        <p:cNvPr id="1" name="Shape 15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07" name="Google Shape;1507;p19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508" name="Google Shape;1508;p19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509" name="Google Shape;1509;p19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510" name="Google Shape;1510;p19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11" name="Google Shape;1511;p19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12" name="Google Shape;1512;p19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513" name="Google Shape;1513;p1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7">
    <p:spTree>
      <p:nvGrpSpPr>
        <p:cNvPr id="1" name="Shape 15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15" name="Google Shape;1515;p19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16" name="Google Shape;1516;p19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17" name="Google Shape;1517;p19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18" name="Google Shape;1518;p19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19" name="Google Shape;1519;p19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20" name="Google Shape;1520;p19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21" name="Google Shape;1521;p19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2" name="Google Shape;1522;p19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23" name="Google Shape;1523;p19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24" name="Google Shape;1524;p19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25" name="Google Shape;1525;p19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526" name="Google Shape;1526;p19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1">
    <p:spTree>
      <p:nvGrpSpPr>
        <p:cNvPr id="1" name="Shape 152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28" name="Google Shape;1528;p19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29" name="Google Shape;1529;p19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30" name="Google Shape;1530;p19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31" name="Google Shape;1531;p19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32" name="Google Shape;1532;p19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33" name="Google Shape;1533;p19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34" name="Google Shape;1534;p19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35" name="Google Shape;1535;p19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36" name="Google Shape;1536;p19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37" name="Google Shape;1537;p19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0">
    <p:spTree>
      <p:nvGrpSpPr>
        <p:cNvPr id="1" name="Shape 15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9" name="Google Shape;1539;p19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0" name="Google Shape;1540;p19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541" name="Google Shape;1541;p19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42" name="Google Shape;1542;p19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43" name="Google Shape;1543;p19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44" name="Google Shape;1544;p19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45" name="Google Shape;1545;p19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46" name="Google Shape;1546;p19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47" name="Google Shape;1547;p19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48" name="Google Shape;1548;p19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49" name="Google Shape;1549;p19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0">
    <p:spTree>
      <p:nvGrpSpPr>
        <p:cNvPr id="1" name="Shape 155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51" name="Google Shape;1551;p19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52" name="Google Shape;1552;p19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53" name="Google Shape;1553;p19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54" name="Google Shape;1554;p19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55" name="Google Shape;1555;p19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56" name="Google Shape;1556;p19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57" name="Google Shape;1557;p19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58" name="Google Shape;1558;p19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59" name="Google Shape;1559;p19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560" name="Google Shape;1560;p19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61" name="Google Shape;1561;p19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62" name="Google Shape;1562;p19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63" name="Google Shape;1563;p19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0">
    <p:spTree>
      <p:nvGrpSpPr>
        <p:cNvPr id="1" name="Shape 15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65" name="Google Shape;1565;p19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66" name="Google Shape;1566;p19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67" name="Google Shape;1567;p19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68" name="Google Shape;1568;p19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69" name="Google Shape;1569;p19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570" name="Google Shape;1570;p19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71" name="Google Shape;1571;p19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72" name="Google Shape;1572;p19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73" name="Google Shape;1573;p19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8744679"/>
      </p:ext>
    </p:extLst>
  </p:cSld>
  <p:clrMapOvr>
    <a:masterClrMapping/>
  </p:clrMapOvr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1">
    <p:spTree>
      <p:nvGrpSpPr>
        <p:cNvPr id="1" name="Shape 15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75" name="Google Shape;1575;p19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576" name="Google Shape;1576;p19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7" name="Google Shape;1577;p19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578" name="Google Shape;1578;p19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79" name="Google Shape;1579;p19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0" name="Google Shape;1580;p19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581" name="Google Shape;1581;p19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582" name="Google Shape;1582;p19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9">
    <p:spTree>
      <p:nvGrpSpPr>
        <p:cNvPr id="1" name="Shape 1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84" name="Google Shape;1584;p19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585" name="Google Shape;1585;p19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586" name="Google Shape;1586;p19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587" name="Google Shape;1587;p19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588" name="Google Shape;1588;p19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589" name="Google Shape;1589;p19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590" name="Google Shape;1590;p19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591" name="Google Shape;1591;p19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3">
    <p:spTree>
      <p:nvGrpSpPr>
        <p:cNvPr id="1" name="Shape 15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93" name="Google Shape;1593;p199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594" name="Google Shape;1594;p199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5" name="Google Shape;1595;p199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596" name="Google Shape;1596;p199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597" name="Google Shape;1597;p199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598" name="Google Shape;1598;p199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99" name="Google Shape;1599;p199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0" name="Google Shape;1600;p199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2">
    <p:bg>
      <p:bgPr>
        <a:solidFill>
          <a:schemeClr val="lt2"/>
        </a:solidFill>
        <a:effectLst/>
      </p:bgPr>
    </p:bg>
    <p:spTree>
      <p:nvGrpSpPr>
        <p:cNvPr id="1" name="Shape 16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02" name="Google Shape;1602;p200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603" name="Google Shape;1603;p200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4" name="Google Shape;1604;p200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05" name="Google Shape;1605;p200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606" name="Google Shape;1606;p200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607" name="Google Shape;1607;p200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08" name="Google Shape;1608;p200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2">
    <p:spTree>
      <p:nvGrpSpPr>
        <p:cNvPr id="1" name="Shape 16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0" name="Google Shape;1610;p201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611" name="Google Shape;1611;p201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612" name="Google Shape;1612;p201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613" name="Google Shape;1613;p201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14" name="Google Shape;1614;p201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15" name="Google Shape;1615;p201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616" name="Google Shape;1616;p20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8">
    <p:spTree>
      <p:nvGrpSpPr>
        <p:cNvPr id="1" name="Shape 16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18" name="Google Shape;1618;p202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19" name="Google Shape;1619;p202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20" name="Google Shape;1620;p202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21" name="Google Shape;1621;p20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22" name="Google Shape;1622;p20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23" name="Google Shape;1623;p20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24" name="Google Shape;1624;p20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25" name="Google Shape;1625;p202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26" name="Google Shape;1626;p20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27" name="Google Shape;1627;p20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28" name="Google Shape;1628;p20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629" name="Google Shape;1629;p202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2">
    <p:spTree>
      <p:nvGrpSpPr>
        <p:cNvPr id="1" name="Shape 16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1" name="Google Shape;1631;p20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32" name="Google Shape;1632;p203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33" name="Google Shape;1633;p20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34" name="Google Shape;1634;p20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35" name="Google Shape;1635;p20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36" name="Google Shape;1636;p20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37" name="Google Shape;1637;p203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38" name="Google Shape;1638;p20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39" name="Google Shape;1639;p20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40" name="Google Shape;1640;p20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1">
    <p:spTree>
      <p:nvGrpSpPr>
        <p:cNvPr id="1" name="Shape 16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42" name="Google Shape;1642;p204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43" name="Google Shape;1643;p204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644" name="Google Shape;1644;p204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45" name="Google Shape;1645;p204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46" name="Google Shape;1646;p204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47" name="Google Shape;1647;p204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48" name="Google Shape;1648;p204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49" name="Google Shape;1649;p204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0" name="Google Shape;1650;p204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51" name="Google Shape;1651;p204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52" name="Google Shape;1652;p204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1">
    <p:spTree>
      <p:nvGrpSpPr>
        <p:cNvPr id="1" name="Shape 16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54" name="Google Shape;1654;p20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55" name="Google Shape;1655;p205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56" name="Google Shape;1656;p20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57" name="Google Shape;1657;p20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58" name="Google Shape;1658;p20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59" name="Google Shape;1659;p205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0" name="Google Shape;1660;p205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1" name="Google Shape;1661;p205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2" name="Google Shape;1662;p205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663" name="Google Shape;1663;p205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64" name="Google Shape;1664;p20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65" name="Google Shape;1665;p20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66" name="Google Shape;1666;p20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1">
    <p:spTree>
      <p:nvGrpSpPr>
        <p:cNvPr id="1" name="Shape 16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68" name="Google Shape;1668;p20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69" name="Google Shape;1669;p20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70" name="Google Shape;1670;p20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71" name="Google Shape;1671;p20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72" name="Google Shape;1672;p20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673" name="Google Shape;1673;p20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74" name="Google Shape;1674;p20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75" name="Google Shape;1675;p20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76" name="Google Shape;1676;p20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86376476"/>
      </p:ext>
    </p:extLst>
  </p:cSld>
  <p:clrMapOvr>
    <a:masterClrMapping/>
  </p:clrMapOvr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2">
    <p:spTree>
      <p:nvGrpSpPr>
        <p:cNvPr id="1" name="Shape 16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8" name="Google Shape;1678;p207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679" name="Google Shape;1679;p207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680" name="Google Shape;1680;p207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681" name="Google Shape;1681;p207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682" name="Google Shape;1682;p207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83" name="Google Shape;1683;p207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684" name="Google Shape;1684;p20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685" name="Google Shape;1685;p207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0">
    <p:spTree>
      <p:nvGrpSpPr>
        <p:cNvPr id="1" name="Shape 16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87" name="Google Shape;1687;p20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688" name="Google Shape;1688;p20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689" name="Google Shape;1689;p20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690" name="Google Shape;1690;p20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691" name="Google Shape;1691;p20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692" name="Google Shape;1692;p20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693" name="Google Shape;1693;p20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694" name="Google Shape;1694;p20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">
    <p:spTree>
      <p:nvGrpSpPr>
        <p:cNvPr id="1" name="Shape 16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6" name="Google Shape;1696;p209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697" name="Google Shape;1697;p209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698" name="Google Shape;1698;p209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699" name="Google Shape;1699;p209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00" name="Google Shape;1700;p209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01" name="Google Shape;1701;p209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2" name="Google Shape;1702;p209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3" name="Google Shape;1703;p209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4" name="Google Shape;1704;p209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">
    <p:spTree>
      <p:nvGrpSpPr>
        <p:cNvPr id="1" name="Shape 17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06" name="Google Shape;1706;p210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07" name="Google Shape;1707;p210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08" name="Google Shape;1708;p210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09" name="Google Shape;1709;p210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0" name="Google Shape;1710;p21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11" name="Google Shape;1711;p210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Title Slide_Yale Blue">
  <p:cSld name="3_Title Slide_Yale Blue 9">
    <p:spTree>
      <p:nvGrpSpPr>
        <p:cNvPr id="1" name="Shape 17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3" name="Google Shape;1713;p211"/>
          <p:cNvSpPr txBox="1">
            <a:spLocks noGrp="1"/>
          </p:cNvSpPr>
          <p:nvPr>
            <p:ph type="body" idx="1"/>
          </p:nvPr>
        </p:nvSpPr>
        <p:spPr>
          <a:xfrm>
            <a:off x="2826555" y="5400857"/>
            <a:ext cx="8178613" cy="381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>
            <a:lvl1pPr marL="457200" lvl="0" indent="-228600" algn="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None/>
              <a:defRPr sz="1867">
                <a:solidFill>
                  <a:srgbClr val="616364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14" name="Google Shape;1714;p211"/>
          <p:cNvSpPr txBox="1">
            <a:spLocks noGrp="1"/>
          </p:cNvSpPr>
          <p:nvPr>
            <p:ph type="ctrTitle"/>
          </p:nvPr>
        </p:nvSpPr>
        <p:spPr>
          <a:xfrm>
            <a:off x="2826555" y="1807151"/>
            <a:ext cx="8178613" cy="16294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14C"/>
              </a:buClr>
              <a:buSzPts val="5333"/>
              <a:buFont typeface="Verdana"/>
              <a:buNone/>
              <a:defRPr sz="5333" b="1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5" name="Google Shape;1715;p211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716" name="Google Shape;1716;p21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17" name="Google Shape;1717;p211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18" name="Google Shape;1718;p211"/>
          <p:cNvSpPr/>
          <p:nvPr/>
        </p:nvSpPr>
        <p:spPr>
          <a:xfrm rot="10800000">
            <a:off x="1" y="2000248"/>
            <a:ext cx="2785068" cy="2042851"/>
          </a:xfrm>
          <a:custGeom>
            <a:avLst/>
            <a:gdLst/>
            <a:ahLst/>
            <a:cxnLst/>
            <a:rect l="l" t="t" r="r" b="b"/>
            <a:pathLst>
              <a:path w="10293751" h="1031873" extrusionOk="0">
                <a:moveTo>
                  <a:pt x="3579068" y="0"/>
                </a:moveTo>
                <a:lnTo>
                  <a:pt x="10293751" y="1"/>
                </a:lnTo>
                <a:lnTo>
                  <a:pt x="10293751" y="1031873"/>
                </a:lnTo>
                <a:lnTo>
                  <a:pt x="0" y="1031872"/>
                </a:lnTo>
                <a:lnTo>
                  <a:pt x="3579068" y="0"/>
                </a:lnTo>
                <a:close/>
              </a:path>
            </a:pathLst>
          </a:cu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19" name="Google Shape;1719;p211"/>
          <p:cNvSpPr/>
          <p:nvPr/>
        </p:nvSpPr>
        <p:spPr>
          <a:xfrm>
            <a:off x="0" y="6115051"/>
            <a:ext cx="12192000" cy="742949"/>
          </a:xfrm>
          <a:prstGeom prst="rect">
            <a:avLst/>
          </a:prstGeom>
          <a:solidFill>
            <a:srgbClr val="003B5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20" name="Google Shape;1720;p211"/>
          <p:cNvSpPr txBox="1">
            <a:spLocks noGrp="1"/>
          </p:cNvSpPr>
          <p:nvPr>
            <p:ph type="body" idx="2"/>
          </p:nvPr>
        </p:nvSpPr>
        <p:spPr>
          <a:xfrm>
            <a:off x="2826555" y="3447399"/>
            <a:ext cx="8178613" cy="7133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3200"/>
              <a:buNone/>
              <a:defRPr sz="3200" b="0" i="0">
                <a:solidFill>
                  <a:srgbClr val="00314C"/>
                </a:solidFill>
                <a:latin typeface="Verdana"/>
                <a:ea typeface="Verdana"/>
                <a:cs typeface="Verdana"/>
                <a:sym typeface="Verdana"/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721" name="Google Shape;1721;p21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2829834" y="4178329"/>
            <a:ext cx="4395959" cy="114016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1_Title Slide">
  <p:cSld name="1_Title Slide 2">
    <p:spTree>
      <p:nvGrpSpPr>
        <p:cNvPr id="1" name="Shape 17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23" name="Google Shape;1723;p212"/>
          <p:cNvSpPr/>
          <p:nvPr/>
        </p:nvSpPr>
        <p:spPr>
          <a:xfrm>
            <a:off x="-21166" y="6629400"/>
            <a:ext cx="12213167" cy="228600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724" name="Google Shape;1724;p212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45967" y="408518"/>
            <a:ext cx="3706284" cy="1813983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725" name="Google Shape;1725;p212"/>
          <p:cNvGrpSpPr/>
          <p:nvPr/>
        </p:nvGrpSpPr>
        <p:grpSpPr>
          <a:xfrm>
            <a:off x="0" y="0"/>
            <a:ext cx="1862667" cy="6629400"/>
            <a:chOff x="-15876" y="0"/>
            <a:chExt cx="1927803" cy="6858000"/>
          </a:xfrm>
        </p:grpSpPr>
        <p:sp>
          <p:nvSpPr>
            <p:cNvPr id="1726" name="Google Shape;1726;p212"/>
            <p:cNvSpPr/>
            <p:nvPr/>
          </p:nvSpPr>
          <p:spPr>
            <a:xfrm>
              <a:off x="-15876" y="0"/>
              <a:ext cx="1844557" cy="6858000"/>
            </a:xfrm>
            <a:prstGeom prst="rect">
              <a:avLst/>
            </a:prstGeom>
            <a:solidFill>
              <a:srgbClr val="800000"/>
            </a:solidFill>
            <a:ln>
              <a:noFill/>
            </a:ln>
          </p:spPr>
          <p:txBody>
            <a:bodyPr spcFirstLastPara="1" wrap="square" lIns="91425" tIns="45700" rIns="91425" bIns="45700" anchor="t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2400"/>
                <a:buFont typeface="Arial"/>
                <a:buNone/>
              </a:pPr>
              <a:endParaRPr sz="24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27" name="Google Shape;1727;p212"/>
            <p:cNvPicPr preferRelativeResize="0"/>
            <p:nvPr/>
          </p:nvPicPr>
          <p:blipFill rotWithShape="1">
            <a:blip r:embed="rId3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-15876" y="0"/>
              <a:ext cx="1927803" cy="6858000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</p:pic>
      </p:grpSp>
      <p:sp>
        <p:nvSpPr>
          <p:cNvPr id="1728" name="Google Shape;1728;p212"/>
          <p:cNvSpPr txBox="1">
            <a:spLocks noGrp="1"/>
          </p:cNvSpPr>
          <p:nvPr>
            <p:ph type="subTitle" idx="1"/>
          </p:nvPr>
        </p:nvSpPr>
        <p:spPr>
          <a:xfrm>
            <a:off x="3147489" y="4195763"/>
            <a:ext cx="5488516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29" name="Google Shape;1729;p212"/>
          <p:cNvSpPr txBox="1">
            <a:spLocks noGrp="1"/>
          </p:cNvSpPr>
          <p:nvPr>
            <p:ph type="ctrTitle"/>
          </p:nvPr>
        </p:nvSpPr>
        <p:spPr>
          <a:xfrm>
            <a:off x="1621872" y="1806429"/>
            <a:ext cx="10189827" cy="22782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5333"/>
              <a:buFont typeface="Calibri"/>
              <a:buNone/>
              <a:defRPr sz="5333">
                <a:solidFill>
                  <a:schemeClr val="dk2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0" name="Google Shape;1730;p212"/>
          <p:cNvSpPr txBox="1">
            <a:spLocks noGrp="1"/>
          </p:cNvSpPr>
          <p:nvPr>
            <p:ph type="body" idx="2"/>
          </p:nvPr>
        </p:nvSpPr>
        <p:spPr>
          <a:xfrm>
            <a:off x="3147484" y="4600575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1" name="Google Shape;1731;p212"/>
          <p:cNvSpPr txBox="1">
            <a:spLocks noGrp="1"/>
          </p:cNvSpPr>
          <p:nvPr>
            <p:ph type="body" idx="3"/>
          </p:nvPr>
        </p:nvSpPr>
        <p:spPr>
          <a:xfrm>
            <a:off x="3147484" y="5005387"/>
            <a:ext cx="5486400" cy="3657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able of Content">
  <p:cSld name="Table of Content 2">
    <p:spTree>
      <p:nvGrpSpPr>
        <p:cNvPr id="1" name="Shape 1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3" name="Google Shape;1733;p213"/>
          <p:cNvSpPr/>
          <p:nvPr/>
        </p:nvSpPr>
        <p:spPr>
          <a:xfrm>
            <a:off x="-10584" y="6620933"/>
            <a:ext cx="12213168" cy="237067"/>
          </a:xfrm>
          <a:prstGeom prst="rect">
            <a:avLst/>
          </a:prstGeom>
          <a:solidFill>
            <a:srgbClr val="76767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2400"/>
              <a:buFont typeface="Arial"/>
              <a:buNone/>
            </a:pPr>
            <a:endParaRPr sz="24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34" name="Google Shape;1734;p213"/>
          <p:cNvSpPr txBox="1">
            <a:spLocks noGrp="1"/>
          </p:cNvSpPr>
          <p:nvPr>
            <p:ph type="title"/>
          </p:nvPr>
        </p:nvSpPr>
        <p:spPr>
          <a:xfrm>
            <a:off x="218114" y="224840"/>
            <a:ext cx="11715725" cy="5693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933"/>
              <a:buFont typeface="Calibri"/>
              <a:buNone/>
              <a:defRPr sz="2933">
                <a:solidFill>
                  <a:schemeClr val="dk2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5" name="Google Shape;1735;p213"/>
          <p:cNvSpPr txBox="1">
            <a:spLocks noGrp="1"/>
          </p:cNvSpPr>
          <p:nvPr>
            <p:ph type="body" idx="1"/>
          </p:nvPr>
        </p:nvSpPr>
        <p:spPr>
          <a:xfrm>
            <a:off x="218114" y="917197"/>
            <a:ext cx="11715725" cy="495867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▪"/>
              <a:defRPr sz="1867" b="1"/>
            </a:lvl1pPr>
            <a:lvl2pPr marL="914400" lvl="1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̶"/>
              <a:defRPr sz="1867"/>
            </a:lvl2pPr>
            <a:lvl3pPr marL="1371600" lvl="2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Arial"/>
              <a:buChar char="•"/>
              <a:defRPr sz="1867"/>
            </a:lvl3pPr>
            <a:lvl4pPr marL="1828800" lvl="3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Font typeface="Noto Sans Symbols"/>
              <a:buChar char="✔"/>
              <a:defRPr sz="1867"/>
            </a:lvl4pPr>
            <a:lvl5pPr marL="2286000" lvl="4" indent="-34715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67"/>
              <a:buChar char="•"/>
              <a:defRPr sz="1867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6" name="Google Shape;1736;p213"/>
          <p:cNvSpPr txBox="1">
            <a:spLocks noGrp="1"/>
          </p:cNvSpPr>
          <p:nvPr>
            <p:ph type="body" idx="2"/>
          </p:nvPr>
        </p:nvSpPr>
        <p:spPr>
          <a:xfrm>
            <a:off x="3858937" y="5969001"/>
            <a:ext cx="8074903" cy="64981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L="457200" lvl="0" indent="-313245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333"/>
              <a:buChar char="•"/>
              <a:defRPr sz="1333" b="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37" name="Google Shape;1737;p21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67"/>
              <a:buFont typeface="Arial"/>
              <a:buNone/>
              <a:defRPr sz="1467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738" name="Google Shape;1738;p213" descr="M:\Marketing Communication and Referral Access\Luis\newbrand\UCM_logo\master\horizontal\UCM_Logo_Master_Brand_Horizontal_Tagline_rgb.jpg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1601" y="5969000"/>
            <a:ext cx="3704343" cy="651933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3">
    <p:bg>
      <p:bgPr>
        <a:solidFill>
          <a:schemeClr val="lt2"/>
        </a:solidFill>
        <a:effectLst/>
      </p:bgPr>
    </p:bg>
    <p:spTree>
      <p:nvGrpSpPr>
        <p:cNvPr id="1" name="Shape 17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40" name="Google Shape;1740;p214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741" name="Google Shape;1741;p214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2" name="Google Shape;1742;p214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43" name="Google Shape;1743;p214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744" name="Google Shape;1744;p214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745" name="Google Shape;1745;p214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46" name="Google Shape;1746;p214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3">
    <p:spTree>
      <p:nvGrpSpPr>
        <p:cNvPr id="1" name="Shape 17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8" name="Google Shape;1748;p215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749" name="Google Shape;1749;p215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750" name="Google Shape;1750;p215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751" name="Google Shape;1751;p215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752" name="Google Shape;1752;p215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753" name="Google Shape;1753;p215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754" name="Google Shape;1754;p215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1">
    <p:spTree>
      <p:nvGrpSpPr>
        <p:cNvPr id="1" name="Shape 17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56" name="Google Shape;1756;p21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57" name="Google Shape;1757;p216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58" name="Google Shape;1758;p21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59" name="Google Shape;1759;p216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60" name="Google Shape;1760;p216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61" name="Google Shape;1761;p216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62" name="Google Shape;1762;p216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63" name="Google Shape;1763;p216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843775063"/>
      </p:ext>
    </p:extLst>
  </p:cSld>
  <p:clrMapOvr>
    <a:masterClrMapping/>
  </p:clrMapOvr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19">
    <p:spTree>
      <p:nvGrpSpPr>
        <p:cNvPr id="1" name="Shape 17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65" name="Google Shape;1765;p21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766" name="Google Shape;1766;p21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67" name="Google Shape;1767;p21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68" name="Google Shape;1768;p21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69" name="Google Shape;1769;p21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70" name="Google Shape;1770;p21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771" name="Google Shape;1771;p21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72" name="Google Shape;1772;p217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73" name="Google Shape;1773;p21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74" name="Google Shape;1774;p21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75" name="Google Shape;1775;p21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776" name="Google Shape;1776;p21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2">
    <p:spTree>
      <p:nvGrpSpPr>
        <p:cNvPr id="1" name="Shape 17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8" name="Google Shape;1778;p218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79" name="Google Shape;1779;p218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780" name="Google Shape;1780;p21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81" name="Google Shape;1781;p21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82" name="Google Shape;1782;p21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83" name="Google Shape;1783;p21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84" name="Google Shape;1784;p21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85" name="Google Shape;1785;p218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86" name="Google Shape;1786;p218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787" name="Google Shape;1787;p21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788" name="Google Shape;1788;p21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2">
    <p:spTree>
      <p:nvGrpSpPr>
        <p:cNvPr id="1" name="Shape 17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90" name="Google Shape;1790;p21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791" name="Google Shape;1791;p21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792" name="Google Shape;1792;p21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793" name="Google Shape;1793;p21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794" name="Google Shape;1794;p21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795" name="Google Shape;1795;p219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6" name="Google Shape;1796;p219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7" name="Google Shape;1797;p219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98" name="Google Shape;1798;p219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799" name="Google Shape;1799;p219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0" name="Google Shape;1800;p21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01" name="Google Shape;1801;p21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02" name="Google Shape;1802;p21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2">
    <p:spTree>
      <p:nvGrpSpPr>
        <p:cNvPr id="1" name="Shape 18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04" name="Google Shape;1804;p22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05" name="Google Shape;1805;p22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06" name="Google Shape;1806;p22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07" name="Google Shape;1807;p22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08" name="Google Shape;1808;p22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809" name="Google Shape;1809;p22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10" name="Google Shape;1810;p22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11" name="Google Shape;1811;p22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12" name="Google Shape;1812;p22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3">
    <p:spTree>
      <p:nvGrpSpPr>
        <p:cNvPr id="1" name="Shape 18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14" name="Google Shape;1814;p221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815" name="Google Shape;1815;p221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16" name="Google Shape;1816;p221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17" name="Google Shape;1817;p221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18" name="Google Shape;1818;p221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19" name="Google Shape;1819;p221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820" name="Google Shape;1820;p221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821" name="Google Shape;1821;p221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2">
    <p:spTree>
      <p:nvGrpSpPr>
        <p:cNvPr id="1" name="Shape 18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3" name="Google Shape;1823;p22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24" name="Google Shape;1824;p22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25" name="Google Shape;1825;p22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26" name="Google Shape;1826;p22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27" name="Google Shape;1827;p22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28" name="Google Shape;1828;p22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29" name="Google Shape;1829;p22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30" name="Google Shape;1830;p22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Quotation">
  <p:cSld name="4_Quotation 2">
    <p:spTree>
      <p:nvGrpSpPr>
        <p:cNvPr id="1" name="Shape 18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2" name="Google Shape;1832;p223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33" name="Google Shape;1833;p223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34" name="Google Shape;1834;p223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35" name="Google Shape;1835;p22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36" name="Google Shape;1836;p22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37" name="Google Shape;1837;p22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38" name="Google Shape;1838;p22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39" name="Google Shape;1839;p22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40" name="Google Shape;1840;p22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41" name="Google Shape;1841;p22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42" name="Google Shape;1842;p22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43" name="Google Shape;1843;p223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 B">
  <p:cSld name="Cover B 3">
    <p:spTree>
      <p:nvGrpSpPr>
        <p:cNvPr id="1" name="Shape 18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5" name="Google Shape;1845;p224"/>
          <p:cNvSpPr txBox="1">
            <a:spLocks noGrp="1"/>
          </p:cNvSpPr>
          <p:nvPr>
            <p:ph type="ctrTitle"/>
          </p:nvPr>
        </p:nvSpPr>
        <p:spPr>
          <a:xfrm>
            <a:off x="513348" y="2633534"/>
            <a:ext cx="5194433" cy="238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46" name="Google Shape;1846;p224"/>
          <p:cNvSpPr txBox="1">
            <a:spLocks noGrp="1"/>
          </p:cNvSpPr>
          <p:nvPr>
            <p:ph type="subTitle" idx="1"/>
          </p:nvPr>
        </p:nvSpPr>
        <p:spPr>
          <a:xfrm>
            <a:off x="513348" y="5400325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grpSp>
        <p:nvGrpSpPr>
          <p:cNvPr id="1847" name="Google Shape;1847;p224"/>
          <p:cNvGrpSpPr/>
          <p:nvPr/>
        </p:nvGrpSpPr>
        <p:grpSpPr>
          <a:xfrm flipH="1">
            <a:off x="-1" y="1"/>
            <a:ext cx="6418725" cy="1509822"/>
            <a:chOff x="7522541" y="1"/>
            <a:chExt cx="4669459" cy="1098357"/>
          </a:xfrm>
        </p:grpSpPr>
        <p:sp>
          <p:nvSpPr>
            <p:cNvPr id="1848" name="Google Shape;1848;p224"/>
            <p:cNvSpPr/>
            <p:nvPr/>
          </p:nvSpPr>
          <p:spPr>
            <a:xfrm>
              <a:off x="7522541" y="1"/>
              <a:ext cx="4669459" cy="1098357"/>
            </a:xfrm>
            <a:custGeom>
              <a:avLst/>
              <a:gdLst/>
              <a:ahLst/>
              <a:cxnLst/>
              <a:rect l="l" t="t" r="r" b="b"/>
              <a:pathLst>
                <a:path w="4669459" h="1098357" extrusionOk="0">
                  <a:moveTo>
                    <a:pt x="0" y="0"/>
                  </a:moveTo>
                  <a:lnTo>
                    <a:pt x="393099" y="0"/>
                  </a:lnTo>
                  <a:lnTo>
                    <a:pt x="485580" y="28411"/>
                  </a:lnTo>
                  <a:cubicBezTo>
                    <a:pt x="1068094" y="214503"/>
                    <a:pt x="1643165" y="412971"/>
                    <a:pt x="2241464" y="572540"/>
                  </a:cubicBezTo>
                  <a:cubicBezTo>
                    <a:pt x="3009808" y="777487"/>
                    <a:pt x="3848273" y="856360"/>
                    <a:pt x="4645823" y="731027"/>
                  </a:cubicBezTo>
                  <a:lnTo>
                    <a:pt x="4669459" y="726784"/>
                  </a:lnTo>
                  <a:lnTo>
                    <a:pt x="4669459" y="1079503"/>
                  </a:lnTo>
                  <a:lnTo>
                    <a:pt x="4627787" y="1083679"/>
                  </a:lnTo>
                  <a:cubicBezTo>
                    <a:pt x="3105555" y="1189027"/>
                    <a:pt x="1909512" y="709765"/>
                    <a:pt x="568062" y="207626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40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49" name="Google Shape;1849;p224"/>
            <p:cNvSpPr/>
            <p:nvPr/>
          </p:nvSpPr>
          <p:spPr>
            <a:xfrm>
              <a:off x="7649481" y="1"/>
              <a:ext cx="4542519" cy="983565"/>
            </a:xfrm>
            <a:custGeom>
              <a:avLst/>
              <a:gdLst/>
              <a:ahLst/>
              <a:cxnLst/>
              <a:rect l="l" t="t" r="r" b="b"/>
              <a:pathLst>
                <a:path w="4542519" h="983565" extrusionOk="0">
                  <a:moveTo>
                    <a:pt x="0" y="0"/>
                  </a:moveTo>
                  <a:lnTo>
                    <a:pt x="4542519" y="0"/>
                  </a:lnTo>
                  <a:lnTo>
                    <a:pt x="4542519" y="957397"/>
                  </a:lnTo>
                  <a:lnTo>
                    <a:pt x="4542518" y="957403"/>
                  </a:lnTo>
                  <a:lnTo>
                    <a:pt x="4510552" y="961138"/>
                  </a:lnTo>
                  <a:cubicBezTo>
                    <a:pt x="2991282" y="1091409"/>
                    <a:pt x="1788278" y="632191"/>
                    <a:pt x="439600" y="152515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pic>
        <p:nvPicPr>
          <p:cNvPr id="1850" name="Google Shape;1850;p22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136525"/>
            <a:ext cx="1945206" cy="879974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ver">
  <p:cSld name="Cover 14">
    <p:spTree>
      <p:nvGrpSpPr>
        <p:cNvPr id="1" name="Shape 18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52" name="Google Shape;1852;p225"/>
          <p:cNvSpPr/>
          <p:nvPr/>
        </p:nvSpPr>
        <p:spPr>
          <a:xfrm>
            <a:off x="902368" y="1294413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53" name="Google Shape;1853;p225"/>
          <p:cNvSpPr txBox="1">
            <a:spLocks noGrp="1"/>
          </p:cNvSpPr>
          <p:nvPr>
            <p:ph type="ctrTitle"/>
          </p:nvPr>
        </p:nvSpPr>
        <p:spPr>
          <a:xfrm>
            <a:off x="1413310" y="1561331"/>
            <a:ext cx="5194433" cy="182633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Calibri"/>
              <a:buNone/>
              <a:defRPr sz="400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4" name="Google Shape;1854;p225"/>
          <p:cNvSpPr txBox="1">
            <a:spLocks noGrp="1"/>
          </p:cNvSpPr>
          <p:nvPr>
            <p:ph type="subTitle" idx="1"/>
          </p:nvPr>
        </p:nvSpPr>
        <p:spPr>
          <a:xfrm>
            <a:off x="1413310" y="3766862"/>
            <a:ext cx="5194433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  <p:sp>
        <p:nvSpPr>
          <p:cNvPr id="1855" name="Google Shape;1855;p225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  <p:grpSp>
        <p:nvGrpSpPr>
          <p:cNvPr id="1856" name="Google Shape;1856;p225"/>
          <p:cNvGrpSpPr/>
          <p:nvPr/>
        </p:nvGrpSpPr>
        <p:grpSpPr>
          <a:xfrm>
            <a:off x="0" y="5020348"/>
            <a:ext cx="12192000" cy="1837653"/>
            <a:chOff x="0" y="5020348"/>
            <a:chExt cx="12192000" cy="1837653"/>
          </a:xfrm>
        </p:grpSpPr>
        <p:sp>
          <p:nvSpPr>
            <p:cNvPr id="1857" name="Google Shape;1857;p225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58" name="Google Shape;1858;p225"/>
            <p:cNvSpPr/>
            <p:nvPr/>
          </p:nvSpPr>
          <p:spPr>
            <a:xfrm>
              <a:off x="0" y="5020348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59" name="Google Shape;1859;p22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</p:spTree>
  </p:cSld>
  <p:clrMapOvr>
    <a:masterClrMapping/>
  </p:clrMapOvr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Divider">
  <p:cSld name="Divider 14">
    <p:bg>
      <p:bgPr>
        <a:solidFill>
          <a:schemeClr val="lt2"/>
        </a:solidFill>
        <a:effectLst/>
      </p:bgPr>
    </p:bg>
    <p:spTree>
      <p:nvGrpSpPr>
        <p:cNvPr id="1" name="Shape 18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61" name="Google Shape;1861;p226"/>
          <p:cNvGrpSpPr/>
          <p:nvPr/>
        </p:nvGrpSpPr>
        <p:grpSpPr>
          <a:xfrm>
            <a:off x="0" y="5020347"/>
            <a:ext cx="12192000" cy="1837653"/>
            <a:chOff x="0" y="5020347"/>
            <a:chExt cx="12192000" cy="1837653"/>
          </a:xfrm>
        </p:grpSpPr>
        <p:sp>
          <p:nvSpPr>
            <p:cNvPr id="1862" name="Google Shape;1862;p226"/>
            <p:cNvSpPr/>
            <p:nvPr/>
          </p:nvSpPr>
          <p:spPr>
            <a:xfrm>
              <a:off x="1" y="5100270"/>
              <a:ext cx="7111369" cy="1757730"/>
            </a:xfrm>
            <a:custGeom>
              <a:avLst/>
              <a:gdLst/>
              <a:ahLst/>
              <a:cxnLst/>
              <a:rect l="l" t="t" r="r" b="b"/>
              <a:pathLst>
                <a:path w="7111369" h="1757730" extrusionOk="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3" name="Google Shape;1863;p226"/>
            <p:cNvSpPr/>
            <p:nvPr/>
          </p:nvSpPr>
          <p:spPr>
            <a:xfrm>
              <a:off x="0" y="5038944"/>
              <a:ext cx="12192000" cy="1819056"/>
            </a:xfrm>
            <a:custGeom>
              <a:avLst/>
              <a:gdLst/>
              <a:ahLst/>
              <a:cxnLst/>
              <a:rect l="l" t="t" r="r" b="b"/>
              <a:pathLst>
                <a:path w="12192000" h="1819056" extrusionOk="0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15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4" name="Google Shape;1864;p226"/>
            <p:cNvSpPr/>
            <p:nvPr/>
          </p:nvSpPr>
          <p:spPr>
            <a:xfrm>
              <a:off x="0" y="5020347"/>
              <a:ext cx="12192000" cy="1837653"/>
            </a:xfrm>
            <a:custGeom>
              <a:avLst/>
              <a:gdLst/>
              <a:ahLst/>
              <a:cxnLst/>
              <a:rect l="l" t="t" r="r" b="b"/>
              <a:pathLst>
                <a:path w="12192000" h="1837653" extrusionOk="0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pic>
          <p:nvPicPr>
            <p:cNvPr id="1865" name="Google Shape;1865;p226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866" name="Google Shape;1866;p226"/>
          <p:cNvSpPr txBox="1">
            <a:spLocks noGrp="1"/>
          </p:cNvSpPr>
          <p:nvPr>
            <p:ph type="title"/>
          </p:nvPr>
        </p:nvSpPr>
        <p:spPr>
          <a:xfrm>
            <a:off x="1413310" y="701748"/>
            <a:ext cx="9365380" cy="201467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67" name="Google Shape;1867;p226"/>
          <p:cNvSpPr txBox="1">
            <a:spLocks noGrp="1"/>
          </p:cNvSpPr>
          <p:nvPr>
            <p:ph type="subTitle" idx="1"/>
          </p:nvPr>
        </p:nvSpPr>
        <p:spPr>
          <a:xfrm>
            <a:off x="1413310" y="3081639"/>
            <a:ext cx="9365380" cy="9865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>
                <a:solidFill>
                  <a:schemeClr val="dk1"/>
                </a:solidFill>
              </a:defRPr>
            </a:lvl1pPr>
            <a:lvl2pPr lvl="1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2pPr>
            <a:lvl3pPr lvl="2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4pPr>
            <a:lvl5pPr lvl="4" algn="ctr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134956318"/>
      </p:ext>
    </p:extLst>
  </p:cSld>
  <p:clrMapOvr>
    <a:masterClrMapping/>
  </p:clrMapOvr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hoto Slide">
  <p:cSld name="Photo Slide 14">
    <p:spTree>
      <p:nvGrpSpPr>
        <p:cNvPr id="1" name="Shape 18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69" name="Google Shape;1869;p227"/>
          <p:cNvSpPr txBox="1">
            <a:spLocks noGrp="1"/>
          </p:cNvSpPr>
          <p:nvPr>
            <p:ph type="body" idx="1"/>
          </p:nvPr>
        </p:nvSpPr>
        <p:spPr>
          <a:xfrm>
            <a:off x="457199" y="1146258"/>
            <a:ext cx="2350169" cy="29717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b="0">
                <a:solidFill>
                  <a:schemeClr val="dk1"/>
                </a:solidFill>
              </a:defRPr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870" name="Google Shape;1870;p227"/>
          <p:cNvCxnSpPr/>
          <p:nvPr/>
        </p:nvCxnSpPr>
        <p:spPr>
          <a:xfrm>
            <a:off x="457200" y="947987"/>
            <a:ext cx="2350168" cy="0"/>
          </a:xfrm>
          <a:prstGeom prst="straightConnector1">
            <a:avLst/>
          </a:prstGeom>
          <a:noFill/>
          <a:ln w="3175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</p:cxnSp>
      <p:grpSp>
        <p:nvGrpSpPr>
          <p:cNvPr id="1871" name="Google Shape;1871;p227"/>
          <p:cNvGrpSpPr/>
          <p:nvPr/>
        </p:nvGrpSpPr>
        <p:grpSpPr>
          <a:xfrm>
            <a:off x="0" y="5379426"/>
            <a:ext cx="2807368" cy="753891"/>
            <a:chOff x="0" y="5379426"/>
            <a:chExt cx="2807368" cy="753891"/>
          </a:xfrm>
        </p:grpSpPr>
        <p:sp>
          <p:nvSpPr>
            <p:cNvPr id="1872" name="Google Shape;1872;p227"/>
            <p:cNvSpPr/>
            <p:nvPr/>
          </p:nvSpPr>
          <p:spPr>
            <a:xfrm>
              <a:off x="0" y="5532510"/>
              <a:ext cx="2807368" cy="600807"/>
            </a:xfrm>
            <a:custGeom>
              <a:avLst/>
              <a:gdLst/>
              <a:ahLst/>
              <a:cxnLst/>
              <a:rect l="l" t="t" r="r" b="b"/>
              <a:pathLst>
                <a:path w="2807368" h="600807" extrusionOk="0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0">
                  <a:schemeClr val="accent3"/>
                </a:gs>
                <a:gs pos="60000">
                  <a:schemeClr val="accent3"/>
                </a:gs>
                <a:gs pos="100000">
                  <a:srgbClr val="EF4114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73" name="Google Shape;1873;p227"/>
            <p:cNvSpPr/>
            <p:nvPr/>
          </p:nvSpPr>
          <p:spPr>
            <a:xfrm>
              <a:off x="0" y="5379426"/>
              <a:ext cx="2807368" cy="649803"/>
            </a:xfrm>
            <a:custGeom>
              <a:avLst/>
              <a:gdLst/>
              <a:ahLst/>
              <a:cxnLst/>
              <a:rect l="l" t="t" r="r" b="b"/>
              <a:pathLst>
                <a:path w="2807368" h="649803" extrusionOk="0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74" name="Google Shape;1874;p227"/>
          <p:cNvSpPr>
            <a:spLocks noGrp="1"/>
          </p:cNvSpPr>
          <p:nvPr>
            <p:ph type="pic" idx="2"/>
          </p:nvPr>
        </p:nvSpPr>
        <p:spPr>
          <a:xfrm>
            <a:off x="2807368" y="457202"/>
            <a:ext cx="8915400" cy="5943598"/>
          </a:xfrm>
          <a:prstGeom prst="rect">
            <a:avLst/>
          </a:prstGeom>
          <a:noFill/>
          <a:ln>
            <a:noFill/>
          </a:ln>
        </p:spPr>
      </p:sp>
      <p:pic>
        <p:nvPicPr>
          <p:cNvPr id="1875" name="Google Shape;1875;p227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8" y="4385538"/>
            <a:ext cx="2025315" cy="911940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0">
    <p:spTree>
      <p:nvGrpSpPr>
        <p:cNvPr id="1" name="Shape 18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77" name="Google Shape;1877;p22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78" name="Google Shape;1878;p22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79" name="Google Shape;1879;p22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80" name="Google Shape;1880;p22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81" name="Google Shape;1881;p22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82" name="Google Shape;1882;p22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83" name="Google Shape;1883;p22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84" name="Google Shape;1884;p228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85" name="Google Shape;1885;p22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86" name="Google Shape;1886;p22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887" name="Google Shape;1887;p22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888" name="Google Shape;1888;p22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ation">
  <p:cSld name="Quotation 21">
    <p:spTree>
      <p:nvGrpSpPr>
        <p:cNvPr id="1" name="Shape 18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0" name="Google Shape;1890;p229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891" name="Google Shape;1891;p229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92" name="Google Shape;1892;p229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93" name="Google Shape;1893;p229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894" name="Google Shape;1894;p229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895" name="Google Shape;1895;p229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896" name="Google Shape;1896;p229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897" name="Google Shape;1897;p229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898" name="Google Shape;1898;p229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899" name="Google Shape;1899;p229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0" name="Google Shape;1900;p229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01" name="Google Shape;1901;p229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 13">
    <p:spTree>
      <p:nvGrpSpPr>
        <p:cNvPr id="1" name="Shape 190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03" name="Google Shape;1903;p230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04" name="Google Shape;1904;p230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05" name="Google Shape;1905;p230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06" name="Google Shape;1906;p230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07" name="Google Shape;1907;p230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08" name="Google Shape;1908;p230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09" name="Google Shape;1909;p230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10" name="Google Shape;1910;p230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11" name="Google Shape;1911;p230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12" name="Google Shape;1912;p230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ntent">
  <p:cSld name="Two Content 13">
    <p:spTree>
      <p:nvGrpSpPr>
        <p:cNvPr id="1" name="Shape 19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14" name="Google Shape;1914;p231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15" name="Google Shape;1915;p231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54102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916" name="Google Shape;1916;p231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17" name="Google Shape;1917;p231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18" name="Google Shape;1918;p231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19" name="Google Shape;1919;p231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0" name="Google Shape;1920;p231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21" name="Google Shape;1921;p231"/>
          <p:cNvSpPr txBox="1">
            <a:spLocks noGrp="1"/>
          </p:cNvSpPr>
          <p:nvPr>
            <p:ph type="body" idx="2"/>
          </p:nvPr>
        </p:nvSpPr>
        <p:spPr>
          <a:xfrm>
            <a:off x="6172199" y="1825625"/>
            <a:ext cx="5410199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22" name="Google Shape;1922;p231"/>
          <p:cNvSpPr txBox="1">
            <a:spLocks noGrp="1"/>
          </p:cNvSpPr>
          <p:nvPr>
            <p:ph type="sldNum" idx="12"/>
          </p:nvPr>
        </p:nvSpPr>
        <p:spPr>
          <a:xfrm>
            <a:off x="8839198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23" name="Google Shape;1923;p231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24" name="Google Shape;1924;p231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mparison">
  <p:cSld name="Comparison 13">
    <p:spTree>
      <p:nvGrpSpPr>
        <p:cNvPr id="1" name="Shape 19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26" name="Google Shape;1926;p232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27" name="Google Shape;1927;p232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28" name="Google Shape;1928;p232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29" name="Google Shape;1929;p232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0" name="Google Shape;1930;p232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31" name="Google Shape;1931;p232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32" name="Google Shape;1932;p232"/>
          <p:cNvSpPr txBox="1">
            <a:spLocks noGrp="1"/>
          </p:cNvSpPr>
          <p:nvPr>
            <p:ph type="body" idx="1"/>
          </p:nvPr>
        </p:nvSpPr>
        <p:spPr>
          <a:xfrm>
            <a:off x="609600" y="1681163"/>
            <a:ext cx="5387975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3" name="Google Shape;1933;p232"/>
          <p:cNvSpPr txBox="1">
            <a:spLocks noGrp="1"/>
          </p:cNvSpPr>
          <p:nvPr>
            <p:ph type="body" idx="2"/>
          </p:nvPr>
        </p:nvSpPr>
        <p:spPr>
          <a:xfrm>
            <a:off x="609600" y="2505075"/>
            <a:ext cx="5387975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rm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4" name="Google Shape;1934;p232"/>
          <p:cNvSpPr txBox="1">
            <a:spLocks noGrp="1"/>
          </p:cNvSpPr>
          <p:nvPr>
            <p:ph type="body" idx="3"/>
          </p:nvPr>
        </p:nvSpPr>
        <p:spPr>
          <a:xfrm>
            <a:off x="6172200" y="1681163"/>
            <a:ext cx="5410200" cy="823912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ctr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 sz="2400" b="0" u="sng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 b="1"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None/>
              <a:defRPr sz="1800" b="1"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None/>
              <a:defRPr sz="1600" b="1"/>
            </a:lvl5pPr>
            <a:lvl6pPr marL="2743200" lvl="5" indent="-2286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6pPr>
            <a:lvl7pPr marL="3200400" lvl="6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7pPr>
            <a:lvl8pPr marL="3657600" lvl="7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8pPr>
            <a:lvl9pPr marL="4114800" lvl="8" indent="-2286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 b="1"/>
            </a:lvl9pPr>
          </a:lstStyle>
          <a:p>
            <a:endParaRPr/>
          </a:p>
        </p:txBody>
      </p:sp>
      <p:sp>
        <p:nvSpPr>
          <p:cNvPr id="1935" name="Google Shape;1935;p232"/>
          <p:cNvSpPr txBox="1">
            <a:spLocks noGrp="1"/>
          </p:cNvSpPr>
          <p:nvPr>
            <p:ph type="body" idx="4"/>
          </p:nvPr>
        </p:nvSpPr>
        <p:spPr>
          <a:xfrm>
            <a:off x="6172200" y="2505075"/>
            <a:ext cx="5410200" cy="3684588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182875" tIns="0" rIns="182875" bIns="0" anchor="t" anchorCtr="0">
            <a:noAutofit/>
          </a:bodyPr>
          <a:lstStyle>
            <a:lvl1pPr marL="457200" lvl="0" indent="-355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Char char="•"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 sz="1800"/>
            </a:lvl2pPr>
            <a:lvl3pPr marL="1371600" lvl="2" indent="-3302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4pPr>
            <a:lvl5pPr marL="2286000" lvl="4" indent="-3175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400"/>
              <a:buChar char="•"/>
              <a:defRPr sz="1400"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6" name="Google Shape;1936;p232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37" name="Google Shape;1937;p232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38" name="Google Shape;1938;p232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>
  <p:cSld name="Title Only 13">
    <p:spTree>
      <p:nvGrpSpPr>
        <p:cNvPr id="1" name="Shape 19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40" name="Google Shape;1940;p233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41" name="Google Shape;1941;p233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42" name="Google Shape;1942;p233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43" name="Google Shape;1943;p233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4" name="Google Shape;1944;p233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sp>
        <p:nvSpPr>
          <p:cNvPr id="1945" name="Google Shape;1945;p233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46" name="Google Shape;1946;p233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47" name="Google Shape;1947;p233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48" name="Google Shape;1948;p233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End">
  <p:cSld name="End 14">
    <p:spTree>
      <p:nvGrpSpPr>
        <p:cNvPr id="1" name="Shape 19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50" name="Google Shape;1950;p234"/>
          <p:cNvGrpSpPr/>
          <p:nvPr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1951" name="Google Shape;1951;p234"/>
            <p:cNvSpPr/>
            <p:nvPr/>
          </p:nvSpPr>
          <p:spPr>
            <a:xfrm flipH="1">
              <a:off x="0" y="0"/>
              <a:ext cx="12192000" cy="2148830"/>
            </a:xfrm>
            <a:custGeom>
              <a:avLst/>
              <a:gdLst/>
              <a:ahLst/>
              <a:cxnLst/>
              <a:rect l="l" t="t" r="r" b="b"/>
              <a:pathLst>
                <a:path w="12192000" h="2148830" extrusionOk="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>
              <a:gsLst>
                <a:gs pos="0">
                  <a:srgbClr val="EF4114"/>
                </a:gs>
                <a:gs pos="75000">
                  <a:schemeClr val="accent3"/>
                </a:gs>
                <a:gs pos="100000">
                  <a:schemeClr val="accent3"/>
                </a:gs>
              </a:gsLst>
              <a:lin ang="0" scaled="0"/>
            </a:gra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52" name="Google Shape;1952;p234"/>
            <p:cNvSpPr/>
            <p:nvPr/>
          </p:nvSpPr>
          <p:spPr>
            <a:xfrm flipH="1">
              <a:off x="0" y="0"/>
              <a:ext cx="12192000" cy="1992138"/>
            </a:xfrm>
            <a:custGeom>
              <a:avLst/>
              <a:gdLst/>
              <a:ahLst/>
              <a:cxnLst/>
              <a:rect l="l" t="t" r="r" b="b"/>
              <a:pathLst>
                <a:path w="12192000" h="1992138" extrusionOk="0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953" name="Google Shape;1953;p234"/>
          <p:cNvSpPr/>
          <p:nvPr/>
        </p:nvSpPr>
        <p:spPr>
          <a:xfrm>
            <a:off x="902368" y="1517697"/>
            <a:ext cx="11289632" cy="3822607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54" name="Google Shape;1954;p234"/>
          <p:cNvSpPr txBox="1">
            <a:spLocks noGrp="1"/>
          </p:cNvSpPr>
          <p:nvPr>
            <p:ph type="body" idx="1"/>
          </p:nvPr>
        </p:nvSpPr>
        <p:spPr>
          <a:xfrm>
            <a:off x="1219201" y="3429000"/>
            <a:ext cx="5582652" cy="1413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000"/>
              <a:buNone/>
              <a:defRPr sz="2000"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55" name="Google Shape;1955;p234"/>
          <p:cNvSpPr txBox="1">
            <a:spLocks noGrp="1"/>
          </p:cNvSpPr>
          <p:nvPr>
            <p:ph type="ctrTitle"/>
          </p:nvPr>
        </p:nvSpPr>
        <p:spPr>
          <a:xfrm>
            <a:off x="1219200" y="1887490"/>
            <a:ext cx="5582652" cy="107826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Font typeface="Calibri"/>
              <a:buNone/>
              <a:defRPr sz="60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956" name="Google Shape;1956;p234"/>
          <p:cNvPicPr preferRelativeResize="0"/>
          <p:nvPr/>
        </p:nvPicPr>
        <p:blipFill rotWithShape="1">
          <a:blip r:embed="rId2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8" y="228371"/>
            <a:ext cx="2025315" cy="911940"/>
          </a:xfrm>
          <a:prstGeom prst="rect">
            <a:avLst/>
          </a:prstGeom>
          <a:noFill/>
          <a:ln>
            <a:noFill/>
          </a:ln>
        </p:spPr>
      </p:pic>
      <p:sp>
        <p:nvSpPr>
          <p:cNvPr id="1957" name="Google Shape;1957;p234"/>
          <p:cNvSpPr>
            <a:spLocks noGrp="1"/>
          </p:cNvSpPr>
          <p:nvPr>
            <p:ph type="pic" idx="2"/>
          </p:nvPr>
        </p:nvSpPr>
        <p:spPr>
          <a:xfrm>
            <a:off x="7118684" y="233915"/>
            <a:ext cx="5073316" cy="5943600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>
  <p:cSld name="Blank 13">
    <p:spTree>
      <p:nvGrpSpPr>
        <p:cNvPr id="1" name="Shape 19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59" name="Google Shape;1959;p235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60" name="Google Shape;1960;p235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61" name="Google Shape;1961;p235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62" name="Google Shape;1962;p235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63" name="Google Shape;1963;p235"/>
            <p:cNvPicPr preferRelativeResize="0"/>
            <p:nvPr/>
          </p:nvPicPr>
          <p:blipFill rotWithShape="1">
            <a:blip r:embed="rId2" cstate="email">
              <a:alphaModFix/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64" name="Google Shape;1964;p235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65" name="Google Shape;1965;p235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6" name="Google Shape;1966;p235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</p:spTree>
  </p:cSld>
  <p:clrMapOvr>
    <a:masterClrMapping/>
  </p:clrMapOvr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Slide">
  <p:cSld name="Title Slide 2">
    <p:bg>
      <p:bgPr>
        <a:solidFill>
          <a:schemeClr val="lt1"/>
        </a:solidFill>
        <a:effectLst/>
      </p:bgPr>
    </p:bg>
    <p:spTree>
      <p:nvGrpSpPr>
        <p:cNvPr id="1" name="Shape 196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68" name="Google Shape;1968;p23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 extrusionOk="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69" name="Google Shape;1969;p236"/>
          <p:cNvSpPr/>
          <p:nvPr/>
        </p:nvSpPr>
        <p:spPr>
          <a:xfrm>
            <a:off x="2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 extrusionOk="0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0" name="Google Shape;1970;p23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5041899"/>
            <a:ext cx="12192000" cy="1816100"/>
          </a:xfrm>
          <a:prstGeom prst="rect">
            <a:avLst/>
          </a:prstGeom>
          <a:noFill/>
          <a:ln>
            <a:noFill/>
          </a:ln>
        </p:spPr>
      </p:pic>
      <p:sp>
        <p:nvSpPr>
          <p:cNvPr id="1971" name="Google Shape;1971;p236"/>
          <p:cNvSpPr/>
          <p:nvPr/>
        </p:nvSpPr>
        <p:spPr>
          <a:xfrm>
            <a:off x="1" y="5020055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 extrusionOk="0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1972" name="Google Shape;1972;p23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13956" y="5564123"/>
            <a:ext cx="2025383" cy="911351"/>
          </a:xfrm>
          <a:prstGeom prst="rect">
            <a:avLst/>
          </a:prstGeom>
          <a:noFill/>
          <a:ln>
            <a:noFill/>
          </a:ln>
        </p:spPr>
      </p:pic>
      <p:sp>
        <p:nvSpPr>
          <p:cNvPr id="1973" name="Google Shape;1973;p236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 h="120000" extrusionOk="0">
                <a:moveTo>
                  <a:pt x="0" y="0"/>
                </a:moveTo>
                <a:lnTo>
                  <a:pt x="2286000" y="0"/>
                </a:lnTo>
              </a:path>
            </a:pathLst>
          </a:custGeom>
          <a:noFill/>
          <a:ln w="32000" cap="flat" cmpd="sng">
            <a:solidFill>
              <a:srgbClr val="F58366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74" name="Google Shape;1974;p236"/>
          <p:cNvSpPr txBox="1"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sp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600"/>
              <a:buFont typeface="Calibri"/>
              <a:buNone/>
              <a:defRPr b="0" i="0">
                <a:solidFill>
                  <a:schemeClr val="dk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5" name="Google Shape;1975;p236"/>
          <p:cNvSpPr txBox="1">
            <a:spLocks noGrp="1"/>
          </p:cNvSpPr>
          <p:nvPr>
            <p:ph type="subTitle" idx="1"/>
          </p:nvPr>
        </p:nvSpPr>
        <p:spPr>
          <a:xfrm>
            <a:off x="1828800" y="3840480"/>
            <a:ext cx="8534400" cy="1714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Char char="•"/>
              <a:defRPr/>
            </a:lvl1pPr>
            <a:lvl2pPr lvl="1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lvl="2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lvl="3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lvl="4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lvl="5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lvl="6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lvl="7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lvl="8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76" name="Google Shape;1976;p2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>
                <a:solidFill>
                  <a:srgbClr val="919497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77" name="Google Shape;1977;p236"/>
          <p:cNvSpPr txBox="1">
            <a:spLocks noGrp="1"/>
          </p:cNvSpPr>
          <p:nvPr>
            <p:ph type="dt" idx="10"/>
          </p:nvPr>
        </p:nvSpPr>
        <p:spPr>
          <a:xfrm>
            <a:off x="0" y="0"/>
            <a:ext cx="3000000" cy="30000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978" name="Google Shape;1978;p2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38100" marR="0" lvl="0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38100" marR="0" lvl="1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38100" marR="0" lvl="2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38100" marR="0" lvl="3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38100" marR="0" lvl="4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38100" marR="0" lvl="5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8100" marR="0" lvl="6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8100" marR="0" lvl="7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38100" marR="0" lvl="8" indent="0" algn="r">
              <a:lnSpc>
                <a:spcPct val="11875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29599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3810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88786427"/>
      </p:ext>
    </p:extLst>
  </p:cSld>
  <p:clrMapOvr>
    <a:masterClrMapping/>
  </p:clrMapOvr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Quotation">
  <p:cSld name="2_Quotation 3">
    <p:spTree>
      <p:nvGrpSpPr>
        <p:cNvPr id="1" name="Shape 19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0" name="Google Shape;1980;p237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81" name="Google Shape;1981;p237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2" name="Google Shape;1982;p237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83" name="Google Shape;1983;p237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84" name="Google Shape;1984;p237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85" name="Google Shape;1985;p237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86" name="Google Shape;1986;p237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1987" name="Google Shape;1987;p237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1988" name="Google Shape;1988;p237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1989" name="Google Shape;1989;p237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90" name="Google Shape;1990;p237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1991" name="Google Shape;1991;p237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Quotation">
  <p:cSld name="1_Quotation">
    <p:spTree>
      <p:nvGrpSpPr>
        <p:cNvPr id="1" name="Shape 19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93" name="Google Shape;1993;p238"/>
          <p:cNvSpPr/>
          <p:nvPr/>
        </p:nvSpPr>
        <p:spPr>
          <a:xfrm>
            <a:off x="1427356" y="1387869"/>
            <a:ext cx="10155043" cy="3506936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1994" name="Google Shape;1994;p238"/>
          <p:cNvSpPr txBox="1">
            <a:spLocks noGrp="1"/>
          </p:cNvSpPr>
          <p:nvPr>
            <p:ph type="title"/>
          </p:nvPr>
        </p:nvSpPr>
        <p:spPr>
          <a:xfrm>
            <a:off x="1427356" y="1377235"/>
            <a:ext cx="10155043" cy="35069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274300" tIns="274300" rIns="274300" bIns="274300" anchor="ctr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95" name="Google Shape;1995;p238"/>
          <p:cNvSpPr txBox="1">
            <a:spLocks noGrp="1"/>
          </p:cNvSpPr>
          <p:nvPr>
            <p:ph type="body" idx="1"/>
          </p:nvPr>
        </p:nvSpPr>
        <p:spPr>
          <a:xfrm>
            <a:off x="1427356" y="5007456"/>
            <a:ext cx="10155044" cy="82519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lvl="0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2400"/>
              <a:buNone/>
              <a:defRPr/>
            </a:lvl1pPr>
            <a:lvl2pPr marL="914400" lvl="1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2pPr>
            <a:lvl3pPr marL="1371600" lvl="2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3pPr>
            <a:lvl4pPr marL="1828800" lvl="3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4pPr>
            <a:lvl5pPr marL="2286000" lvl="4" indent="-3429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96" name="Google Shape;1996;p238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AEB3B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1997" name="Google Shape;1997;p238"/>
          <p:cNvCxnSpPr/>
          <p:nvPr/>
        </p:nvCxnSpPr>
        <p:spPr>
          <a:xfrm>
            <a:off x="609600" y="6335713"/>
            <a:ext cx="10972800" cy="0"/>
          </a:xfrm>
          <a:prstGeom prst="straightConnector1">
            <a:avLst/>
          </a:prstGeom>
          <a:noFill/>
          <a:ln w="9525" cap="flat" cmpd="sng">
            <a:solidFill>
              <a:srgbClr val="AEB3B7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998" name="Google Shape;1998;p238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grpSp>
        <p:nvGrpSpPr>
          <p:cNvPr id="1999" name="Google Shape;1999;p238"/>
          <p:cNvGrpSpPr/>
          <p:nvPr/>
        </p:nvGrpSpPr>
        <p:grpSpPr>
          <a:xfrm>
            <a:off x="7191542" y="1"/>
            <a:ext cx="5000459" cy="1425992"/>
            <a:chOff x="7191542" y="1"/>
            <a:chExt cx="5000459" cy="1425992"/>
          </a:xfrm>
        </p:grpSpPr>
        <p:pic>
          <p:nvPicPr>
            <p:cNvPr id="2000" name="Google Shape;2000;p238"/>
            <p:cNvPicPr preferRelativeResize="0"/>
            <p:nvPr/>
          </p:nvPicPr>
          <p:blipFill rotWithShape="1">
            <a:blip r:embed="rId2">
              <a:alphaModFix/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  <a:noFill/>
            <a:ln>
              <a:noFill/>
            </a:ln>
          </p:spPr>
        </p:pic>
        <p:grpSp>
          <p:nvGrpSpPr>
            <p:cNvPr id="2001" name="Google Shape;2001;p238"/>
            <p:cNvGrpSpPr/>
            <p:nvPr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002" name="Google Shape;2002;p238"/>
              <p:cNvSpPr/>
              <p:nvPr/>
            </p:nvSpPr>
            <p:spPr>
              <a:xfrm>
                <a:off x="7186272" y="0"/>
                <a:ext cx="5005729" cy="1427495"/>
              </a:xfrm>
              <a:custGeom>
                <a:avLst/>
                <a:gdLst/>
                <a:ahLst/>
                <a:cxnLst/>
                <a:rect l="l" t="t" r="r" b="b"/>
                <a:pathLst>
                  <a:path w="5005729" h="1427495" extrusionOk="0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rgbClr val="EF4114"/>
                  </a:gs>
                  <a:gs pos="20000">
                    <a:schemeClr val="accent3"/>
                  </a:gs>
                  <a:gs pos="100000">
                    <a:schemeClr val="accent3"/>
                  </a:gs>
                </a:gsLst>
                <a:lin ang="0" scaled="0"/>
              </a:gra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003" name="Google Shape;2003;p238"/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/>
                <a:ahLst/>
                <a:cxnLst/>
                <a:rect l="l" t="t" r="r" b="b"/>
                <a:pathLst>
                  <a:path w="4861820" h="1389331" extrusionOk="0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  <a:buSzPts val="1800"/>
                  <a:buFont typeface="Arial"/>
                  <a:buNone/>
                </a:pPr>
                <a:endParaRPr sz="1800" b="0" i="0" u="none" strike="noStrike" cap="none">
                  <a:solidFill>
                    <a:schemeClr val="dk1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pic>
        <p:nvPicPr>
          <p:cNvPr id="2004" name="Google Shape;2004;p238" descr="Open quotation mark with solid fill"/>
          <p:cNvPicPr preferRelativeResize="0"/>
          <p:nvPr/>
        </p:nvPicPr>
        <p:blipFill rotWithShape="1">
          <a:blip r:embed="rId3" cstate="email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1512" y="136525"/>
            <a:ext cx="2036762" cy="2036762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673158"/>
      </p:ext>
    </p:extLst>
  </p:cSld>
  <p:clrMapOvr>
    <a:masterClrMapping/>
  </p:clrMapOvr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30" name="Google Shape;30;p4"/>
          <p:cNvSpPr txBox="1">
            <a:spLocks noGrp="1"/>
          </p:cNvSpPr>
          <p:nvPr>
            <p:ph type="body" idx="1"/>
          </p:nvPr>
        </p:nvSpPr>
        <p:spPr>
          <a:xfrm>
            <a:off x="960000" y="1536633"/>
            <a:ext cx="10272000" cy="4555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marL="609585" lvl="0" indent="-41485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marL="1219170" lvl="1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marL="1828754" lvl="2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marL="2438339" lvl="3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marL="3047924" lvl="4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marL="3657509" lvl="5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marL="4267093" lvl="6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●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marL="4876678" lvl="7" indent="-414856" rtl="0">
              <a:lnSpc>
                <a:spcPct val="100000"/>
              </a:lnSpc>
              <a:spcBef>
                <a:spcPts val="2133"/>
              </a:spcBef>
              <a:spcAft>
                <a:spcPts val="0"/>
              </a:spcAft>
              <a:buClr>
                <a:schemeClr val="accent4"/>
              </a:buClr>
              <a:buSzPts val="1300"/>
              <a:buFont typeface="Josefin Slab"/>
              <a:buChar char="○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marL="5486263" lvl="8" indent="-414856" rtl="0">
              <a:lnSpc>
                <a:spcPct val="100000"/>
              </a:lnSpc>
              <a:spcBef>
                <a:spcPts val="2133"/>
              </a:spcBef>
              <a:spcAft>
                <a:spcPts val="2133"/>
              </a:spcAft>
              <a:buClr>
                <a:schemeClr val="accent4"/>
              </a:buClr>
              <a:buSzPts val="1300"/>
              <a:buFont typeface="Josefin Slab"/>
              <a:buChar char="■"/>
              <a:defRPr sz="1733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grpSp>
        <p:nvGrpSpPr>
          <p:cNvPr id="31" name="Google Shape;31;p4"/>
          <p:cNvGrpSpPr/>
          <p:nvPr/>
        </p:nvGrpSpPr>
        <p:grpSpPr>
          <a:xfrm rot="367901">
            <a:off x="3846933" y="-1606811"/>
            <a:ext cx="9067003" cy="2372147"/>
            <a:chOff x="3270900" y="2843975"/>
            <a:chExt cx="1469475" cy="375975"/>
          </a:xfrm>
        </p:grpSpPr>
        <p:sp>
          <p:nvSpPr>
            <p:cNvPr id="32" name="Google Shape;32;p4"/>
            <p:cNvSpPr/>
            <p:nvPr/>
          </p:nvSpPr>
          <p:spPr>
            <a:xfrm>
              <a:off x="3270900" y="2843975"/>
              <a:ext cx="1469475" cy="375975"/>
            </a:xfrm>
            <a:custGeom>
              <a:avLst/>
              <a:gdLst/>
              <a:ahLst/>
              <a:cxnLst/>
              <a:rect l="l" t="t" r="r" b="b"/>
              <a:pathLst>
                <a:path w="58779" h="15039" extrusionOk="0">
                  <a:moveTo>
                    <a:pt x="40" y="251"/>
                  </a:moveTo>
                  <a:cubicBezTo>
                    <a:pt x="0" y="251"/>
                    <a:pt x="108" y="313"/>
                    <a:pt x="425" y="472"/>
                  </a:cubicBezTo>
                  <a:cubicBezTo>
                    <a:pt x="883" y="701"/>
                    <a:pt x="1509" y="808"/>
                    <a:pt x="2169" y="870"/>
                  </a:cubicBezTo>
                  <a:lnTo>
                    <a:pt x="2169" y="870"/>
                  </a:lnTo>
                  <a:cubicBezTo>
                    <a:pt x="1206" y="656"/>
                    <a:pt x="142" y="251"/>
                    <a:pt x="40" y="251"/>
                  </a:cubicBezTo>
                  <a:close/>
                  <a:moveTo>
                    <a:pt x="10025" y="1"/>
                  </a:moveTo>
                  <a:cubicBezTo>
                    <a:pt x="9252" y="1"/>
                    <a:pt x="8347" y="54"/>
                    <a:pt x="7228" y="181"/>
                  </a:cubicBezTo>
                  <a:cubicBezTo>
                    <a:pt x="5795" y="343"/>
                    <a:pt x="4856" y="538"/>
                    <a:pt x="3475" y="957"/>
                  </a:cubicBezTo>
                  <a:lnTo>
                    <a:pt x="3475" y="957"/>
                  </a:lnTo>
                  <a:cubicBezTo>
                    <a:pt x="3050" y="932"/>
                    <a:pt x="2602" y="911"/>
                    <a:pt x="2169" y="870"/>
                  </a:cubicBezTo>
                  <a:lnTo>
                    <a:pt x="2169" y="870"/>
                  </a:lnTo>
                  <a:cubicBezTo>
                    <a:pt x="2516" y="947"/>
                    <a:pt x="2850" y="1000"/>
                    <a:pt x="3121" y="1000"/>
                  </a:cubicBezTo>
                  <a:cubicBezTo>
                    <a:pt x="3256" y="1000"/>
                    <a:pt x="3376" y="987"/>
                    <a:pt x="3474" y="957"/>
                  </a:cubicBezTo>
                  <a:cubicBezTo>
                    <a:pt x="3474" y="957"/>
                    <a:pt x="3475" y="957"/>
                    <a:pt x="3475" y="957"/>
                  </a:cubicBezTo>
                  <a:lnTo>
                    <a:pt x="3475" y="957"/>
                  </a:lnTo>
                  <a:cubicBezTo>
                    <a:pt x="3921" y="982"/>
                    <a:pt x="4343" y="1010"/>
                    <a:pt x="4696" y="1067"/>
                  </a:cubicBezTo>
                  <a:cubicBezTo>
                    <a:pt x="6111" y="1291"/>
                    <a:pt x="7522" y="1547"/>
                    <a:pt x="8918" y="1867"/>
                  </a:cubicBezTo>
                  <a:cubicBezTo>
                    <a:pt x="11944" y="2558"/>
                    <a:pt x="14923" y="3538"/>
                    <a:pt x="17647" y="5046"/>
                  </a:cubicBezTo>
                  <a:cubicBezTo>
                    <a:pt x="21049" y="6930"/>
                    <a:pt x="23627" y="7708"/>
                    <a:pt x="26956" y="9717"/>
                  </a:cubicBezTo>
                  <a:cubicBezTo>
                    <a:pt x="33431" y="13626"/>
                    <a:pt x="41225" y="15038"/>
                    <a:pt x="48933" y="15038"/>
                  </a:cubicBezTo>
                  <a:cubicBezTo>
                    <a:pt x="51669" y="15038"/>
                    <a:pt x="54395" y="14860"/>
                    <a:pt x="57046" y="14552"/>
                  </a:cubicBezTo>
                  <a:cubicBezTo>
                    <a:pt x="57853" y="14459"/>
                    <a:pt x="58778" y="13851"/>
                    <a:pt x="58687" y="13045"/>
                  </a:cubicBezTo>
                  <a:cubicBezTo>
                    <a:pt x="58643" y="12668"/>
                    <a:pt x="58365" y="12363"/>
                    <a:pt x="58068" y="12126"/>
                  </a:cubicBezTo>
                  <a:cubicBezTo>
                    <a:pt x="56243" y="10673"/>
                    <a:pt x="53649" y="10981"/>
                    <a:pt x="51319" y="10871"/>
                  </a:cubicBezTo>
                  <a:cubicBezTo>
                    <a:pt x="49167" y="10768"/>
                    <a:pt x="47138" y="9869"/>
                    <a:pt x="44999" y="9606"/>
                  </a:cubicBezTo>
                  <a:cubicBezTo>
                    <a:pt x="33862" y="8232"/>
                    <a:pt x="26530" y="2093"/>
                    <a:pt x="18708" y="1371"/>
                  </a:cubicBezTo>
                  <a:cubicBezTo>
                    <a:pt x="14172" y="953"/>
                    <a:pt x="13284" y="1"/>
                    <a:pt x="1002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3" name="Google Shape;33;p4"/>
            <p:cNvSpPr/>
            <p:nvPr/>
          </p:nvSpPr>
          <p:spPr>
            <a:xfrm>
              <a:off x="3845125" y="2930600"/>
              <a:ext cx="13800" cy="4825"/>
            </a:xfrm>
            <a:custGeom>
              <a:avLst/>
              <a:gdLst/>
              <a:ahLst/>
              <a:cxnLst/>
              <a:rect l="l" t="t" r="r" b="b"/>
              <a:pathLst>
                <a:path w="552" h="193" extrusionOk="0">
                  <a:moveTo>
                    <a:pt x="480" y="0"/>
                  </a:moveTo>
                  <a:cubicBezTo>
                    <a:pt x="344" y="6"/>
                    <a:pt x="210" y="27"/>
                    <a:pt x="75" y="42"/>
                  </a:cubicBezTo>
                  <a:cubicBezTo>
                    <a:pt x="55" y="43"/>
                    <a:pt x="36" y="51"/>
                    <a:pt x="23" y="64"/>
                  </a:cubicBezTo>
                  <a:cubicBezTo>
                    <a:pt x="9" y="78"/>
                    <a:pt x="0" y="97"/>
                    <a:pt x="0" y="117"/>
                  </a:cubicBezTo>
                  <a:cubicBezTo>
                    <a:pt x="2" y="152"/>
                    <a:pt x="31" y="192"/>
                    <a:pt x="70" y="192"/>
                  </a:cubicBezTo>
                  <a:cubicBezTo>
                    <a:pt x="71" y="192"/>
                    <a:pt x="73" y="192"/>
                    <a:pt x="75" y="192"/>
                  </a:cubicBezTo>
                  <a:cubicBezTo>
                    <a:pt x="218" y="178"/>
                    <a:pt x="359" y="168"/>
                    <a:pt x="499" y="144"/>
                  </a:cubicBezTo>
                  <a:cubicBezTo>
                    <a:pt x="533" y="137"/>
                    <a:pt x="550" y="103"/>
                    <a:pt x="552" y="73"/>
                  </a:cubicBezTo>
                  <a:cubicBezTo>
                    <a:pt x="552" y="67"/>
                    <a:pt x="552" y="60"/>
                    <a:pt x="550" y="54"/>
                  </a:cubicBezTo>
                  <a:cubicBezTo>
                    <a:pt x="540" y="22"/>
                    <a:pt x="512" y="1"/>
                    <a:pt x="48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4" name="Google Shape;34;p4"/>
            <p:cNvSpPr/>
            <p:nvPr/>
          </p:nvSpPr>
          <p:spPr>
            <a:xfrm>
              <a:off x="3855900" y="2919575"/>
              <a:ext cx="10825" cy="5700"/>
            </a:xfrm>
            <a:custGeom>
              <a:avLst/>
              <a:gdLst/>
              <a:ahLst/>
              <a:cxnLst/>
              <a:rect l="l" t="t" r="r" b="b"/>
              <a:pathLst>
                <a:path w="433" h="228" extrusionOk="0">
                  <a:moveTo>
                    <a:pt x="128" y="203"/>
                  </a:moveTo>
                  <a:cubicBezTo>
                    <a:pt x="126" y="204"/>
                    <a:pt x="126" y="204"/>
                    <a:pt x="126" y="204"/>
                  </a:cubicBezTo>
                  <a:cubicBezTo>
                    <a:pt x="126" y="204"/>
                    <a:pt x="127" y="204"/>
                    <a:pt x="128" y="203"/>
                  </a:cubicBezTo>
                  <a:close/>
                  <a:moveTo>
                    <a:pt x="302" y="0"/>
                  </a:moveTo>
                  <a:cubicBezTo>
                    <a:pt x="267" y="3"/>
                    <a:pt x="235" y="8"/>
                    <a:pt x="202" y="17"/>
                  </a:cubicBezTo>
                  <a:cubicBezTo>
                    <a:pt x="138" y="36"/>
                    <a:pt x="79" y="68"/>
                    <a:pt x="28" y="111"/>
                  </a:cubicBezTo>
                  <a:cubicBezTo>
                    <a:pt x="1" y="134"/>
                    <a:pt x="3" y="184"/>
                    <a:pt x="28" y="208"/>
                  </a:cubicBezTo>
                  <a:cubicBezTo>
                    <a:pt x="41" y="221"/>
                    <a:pt x="58" y="227"/>
                    <a:pt x="76" y="227"/>
                  </a:cubicBezTo>
                  <a:cubicBezTo>
                    <a:pt x="93" y="227"/>
                    <a:pt x="110" y="221"/>
                    <a:pt x="124" y="208"/>
                  </a:cubicBezTo>
                  <a:lnTo>
                    <a:pt x="123" y="206"/>
                  </a:lnTo>
                  <a:cubicBezTo>
                    <a:pt x="126" y="204"/>
                    <a:pt x="128" y="202"/>
                    <a:pt x="131" y="200"/>
                  </a:cubicBezTo>
                  <a:lnTo>
                    <a:pt x="131" y="200"/>
                  </a:lnTo>
                  <a:cubicBezTo>
                    <a:pt x="131" y="200"/>
                    <a:pt x="129" y="202"/>
                    <a:pt x="128" y="203"/>
                  </a:cubicBezTo>
                  <a:lnTo>
                    <a:pt x="128" y="203"/>
                  </a:lnTo>
                  <a:cubicBezTo>
                    <a:pt x="128" y="203"/>
                    <a:pt x="129" y="202"/>
                    <a:pt x="129" y="202"/>
                  </a:cubicBezTo>
                  <a:cubicBezTo>
                    <a:pt x="135" y="198"/>
                    <a:pt x="140" y="194"/>
                    <a:pt x="145" y="190"/>
                  </a:cubicBezTo>
                  <a:cubicBezTo>
                    <a:pt x="156" y="183"/>
                    <a:pt x="167" y="177"/>
                    <a:pt x="179" y="170"/>
                  </a:cubicBezTo>
                  <a:cubicBezTo>
                    <a:pt x="184" y="167"/>
                    <a:pt x="190" y="165"/>
                    <a:pt x="197" y="162"/>
                  </a:cubicBezTo>
                  <a:cubicBezTo>
                    <a:pt x="197" y="161"/>
                    <a:pt x="198" y="161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199" y="161"/>
                    <a:pt x="199" y="161"/>
                  </a:cubicBezTo>
                  <a:cubicBezTo>
                    <a:pt x="200" y="161"/>
                    <a:pt x="201" y="160"/>
                    <a:pt x="203" y="159"/>
                  </a:cubicBezTo>
                  <a:lnTo>
                    <a:pt x="203" y="159"/>
                  </a:lnTo>
                  <a:cubicBezTo>
                    <a:pt x="202" y="160"/>
                    <a:pt x="200" y="160"/>
                    <a:pt x="199" y="161"/>
                  </a:cubicBezTo>
                  <a:lnTo>
                    <a:pt x="199" y="161"/>
                  </a:lnTo>
                  <a:cubicBezTo>
                    <a:pt x="199" y="161"/>
                    <a:pt x="200" y="160"/>
                    <a:pt x="203" y="159"/>
                  </a:cubicBezTo>
                  <a:cubicBezTo>
                    <a:pt x="204" y="158"/>
                    <a:pt x="204" y="158"/>
                    <a:pt x="205" y="158"/>
                  </a:cubicBezTo>
                  <a:lnTo>
                    <a:pt x="205" y="158"/>
                  </a:lnTo>
                  <a:cubicBezTo>
                    <a:pt x="205" y="158"/>
                    <a:pt x="204" y="159"/>
                    <a:pt x="203" y="159"/>
                  </a:cubicBezTo>
                  <a:lnTo>
                    <a:pt x="203" y="159"/>
                  </a:lnTo>
                  <a:cubicBezTo>
                    <a:pt x="204" y="159"/>
                    <a:pt x="205" y="158"/>
                    <a:pt x="205" y="158"/>
                  </a:cubicBezTo>
                  <a:lnTo>
                    <a:pt x="205" y="158"/>
                  </a:lnTo>
                  <a:cubicBezTo>
                    <a:pt x="217" y="153"/>
                    <a:pt x="230" y="149"/>
                    <a:pt x="242" y="146"/>
                  </a:cubicBezTo>
                  <a:cubicBezTo>
                    <a:pt x="256" y="142"/>
                    <a:pt x="267" y="140"/>
                    <a:pt x="280" y="136"/>
                  </a:cubicBezTo>
                  <a:lnTo>
                    <a:pt x="300" y="133"/>
                  </a:lnTo>
                  <a:lnTo>
                    <a:pt x="303" y="133"/>
                  </a:lnTo>
                  <a:cubicBezTo>
                    <a:pt x="300" y="134"/>
                    <a:pt x="299" y="134"/>
                    <a:pt x="299" y="134"/>
                  </a:cubicBezTo>
                  <a:cubicBezTo>
                    <a:pt x="299" y="134"/>
                    <a:pt x="305" y="133"/>
                    <a:pt x="306" y="133"/>
                  </a:cubicBezTo>
                  <a:cubicBezTo>
                    <a:pt x="319" y="132"/>
                    <a:pt x="333" y="131"/>
                    <a:pt x="345" y="131"/>
                  </a:cubicBezTo>
                  <a:cubicBezTo>
                    <a:pt x="348" y="131"/>
                    <a:pt x="350" y="131"/>
                    <a:pt x="352" y="131"/>
                  </a:cubicBezTo>
                  <a:cubicBezTo>
                    <a:pt x="362" y="131"/>
                    <a:pt x="373" y="129"/>
                    <a:pt x="382" y="126"/>
                  </a:cubicBezTo>
                  <a:cubicBezTo>
                    <a:pt x="391" y="123"/>
                    <a:pt x="398" y="120"/>
                    <a:pt x="405" y="116"/>
                  </a:cubicBezTo>
                  <a:cubicBezTo>
                    <a:pt x="422" y="106"/>
                    <a:pt x="433" y="88"/>
                    <a:pt x="432" y="69"/>
                  </a:cubicBezTo>
                  <a:cubicBezTo>
                    <a:pt x="432" y="49"/>
                    <a:pt x="421" y="32"/>
                    <a:pt x="405" y="22"/>
                  </a:cubicBezTo>
                  <a:cubicBezTo>
                    <a:pt x="398" y="16"/>
                    <a:pt x="391" y="11"/>
                    <a:pt x="382" y="8"/>
                  </a:cubicBezTo>
                  <a:cubicBezTo>
                    <a:pt x="370" y="4"/>
                    <a:pt x="357" y="0"/>
                    <a:pt x="343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5" name="Google Shape;35;p4"/>
            <p:cNvSpPr/>
            <p:nvPr/>
          </p:nvSpPr>
          <p:spPr>
            <a:xfrm>
              <a:off x="4065050" y="3127375"/>
              <a:ext cx="26350" cy="6400"/>
            </a:xfrm>
            <a:custGeom>
              <a:avLst/>
              <a:gdLst/>
              <a:ahLst/>
              <a:cxnLst/>
              <a:rect l="l" t="t" r="r" b="b"/>
              <a:pathLst>
                <a:path w="1054" h="256" extrusionOk="0">
                  <a:moveTo>
                    <a:pt x="893" y="3"/>
                  </a:moveTo>
                  <a:cubicBezTo>
                    <a:pt x="864" y="4"/>
                    <a:pt x="836" y="6"/>
                    <a:pt x="807" y="9"/>
                  </a:cubicBezTo>
                  <a:cubicBezTo>
                    <a:pt x="750" y="14"/>
                    <a:pt x="694" y="20"/>
                    <a:pt x="637" y="26"/>
                  </a:cubicBezTo>
                  <a:lnTo>
                    <a:pt x="295" y="63"/>
                  </a:lnTo>
                  <a:cubicBezTo>
                    <a:pt x="258" y="67"/>
                    <a:pt x="220" y="70"/>
                    <a:pt x="183" y="77"/>
                  </a:cubicBezTo>
                  <a:cubicBezTo>
                    <a:pt x="150" y="83"/>
                    <a:pt x="119" y="90"/>
                    <a:pt x="88" y="100"/>
                  </a:cubicBezTo>
                  <a:cubicBezTo>
                    <a:pt x="1" y="124"/>
                    <a:pt x="19" y="253"/>
                    <a:pt x="109" y="253"/>
                  </a:cubicBezTo>
                  <a:lnTo>
                    <a:pt x="128" y="254"/>
                  </a:lnTo>
                  <a:lnTo>
                    <a:pt x="143" y="254"/>
                  </a:lnTo>
                  <a:cubicBezTo>
                    <a:pt x="125" y="254"/>
                    <a:pt x="162" y="256"/>
                    <a:pt x="161" y="256"/>
                  </a:cubicBezTo>
                  <a:lnTo>
                    <a:pt x="194" y="256"/>
                  </a:lnTo>
                  <a:cubicBezTo>
                    <a:pt x="222" y="256"/>
                    <a:pt x="251" y="251"/>
                    <a:pt x="279" y="247"/>
                  </a:cubicBezTo>
                  <a:lnTo>
                    <a:pt x="449" y="230"/>
                  </a:lnTo>
                  <a:cubicBezTo>
                    <a:pt x="563" y="217"/>
                    <a:pt x="678" y="205"/>
                    <a:pt x="791" y="191"/>
                  </a:cubicBezTo>
                  <a:cubicBezTo>
                    <a:pt x="828" y="186"/>
                    <a:pt x="866" y="184"/>
                    <a:pt x="902" y="177"/>
                  </a:cubicBezTo>
                  <a:cubicBezTo>
                    <a:pt x="918" y="174"/>
                    <a:pt x="932" y="169"/>
                    <a:pt x="946" y="166"/>
                  </a:cubicBezTo>
                  <a:cubicBezTo>
                    <a:pt x="955" y="164"/>
                    <a:pt x="963" y="162"/>
                    <a:pt x="972" y="160"/>
                  </a:cubicBezTo>
                  <a:cubicBezTo>
                    <a:pt x="989" y="155"/>
                    <a:pt x="1004" y="146"/>
                    <a:pt x="1017" y="135"/>
                  </a:cubicBezTo>
                  <a:cubicBezTo>
                    <a:pt x="1054" y="106"/>
                    <a:pt x="1042" y="38"/>
                    <a:pt x="1002" y="18"/>
                  </a:cubicBezTo>
                  <a:cubicBezTo>
                    <a:pt x="967" y="1"/>
                    <a:pt x="930" y="4"/>
                    <a:pt x="893" y="3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6" name="Google Shape;36;p4"/>
            <p:cNvSpPr/>
            <p:nvPr/>
          </p:nvSpPr>
          <p:spPr>
            <a:xfrm>
              <a:off x="4439100" y="3121250"/>
              <a:ext cx="21650" cy="7400"/>
            </a:xfrm>
            <a:custGeom>
              <a:avLst/>
              <a:gdLst/>
              <a:ahLst/>
              <a:cxnLst/>
              <a:rect l="l" t="t" r="r" b="b"/>
              <a:pathLst>
                <a:path w="866" h="296" extrusionOk="0">
                  <a:moveTo>
                    <a:pt x="770" y="0"/>
                  </a:moveTo>
                  <a:cubicBezTo>
                    <a:pt x="750" y="1"/>
                    <a:pt x="730" y="4"/>
                    <a:pt x="711" y="10"/>
                  </a:cubicBezTo>
                  <a:lnTo>
                    <a:pt x="622" y="30"/>
                  </a:lnTo>
                  <a:lnTo>
                    <a:pt x="434" y="72"/>
                  </a:lnTo>
                  <a:lnTo>
                    <a:pt x="61" y="154"/>
                  </a:lnTo>
                  <a:cubicBezTo>
                    <a:pt x="23" y="166"/>
                    <a:pt x="1" y="205"/>
                    <a:pt x="11" y="243"/>
                  </a:cubicBezTo>
                  <a:cubicBezTo>
                    <a:pt x="20" y="275"/>
                    <a:pt x="49" y="295"/>
                    <a:pt x="81" y="295"/>
                  </a:cubicBezTo>
                  <a:cubicBezTo>
                    <a:pt x="87" y="295"/>
                    <a:pt x="93" y="295"/>
                    <a:pt x="99" y="293"/>
                  </a:cubicBezTo>
                  <a:lnTo>
                    <a:pt x="100" y="293"/>
                  </a:lnTo>
                  <a:lnTo>
                    <a:pt x="474" y="215"/>
                  </a:lnTo>
                  <a:lnTo>
                    <a:pt x="659" y="176"/>
                  </a:lnTo>
                  <a:lnTo>
                    <a:pt x="752" y="157"/>
                  </a:lnTo>
                  <a:cubicBezTo>
                    <a:pt x="771" y="154"/>
                    <a:pt x="790" y="149"/>
                    <a:pt x="807" y="139"/>
                  </a:cubicBezTo>
                  <a:cubicBezTo>
                    <a:pt x="826" y="128"/>
                    <a:pt x="841" y="111"/>
                    <a:pt x="851" y="92"/>
                  </a:cubicBezTo>
                  <a:cubicBezTo>
                    <a:pt x="865" y="69"/>
                    <a:pt x="857" y="38"/>
                    <a:pt x="833" y="23"/>
                  </a:cubicBezTo>
                  <a:cubicBezTo>
                    <a:pt x="814" y="10"/>
                    <a:pt x="793" y="2"/>
                    <a:pt x="7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7" name="Google Shape;37;p4"/>
            <p:cNvSpPr/>
            <p:nvPr/>
          </p:nvSpPr>
          <p:spPr>
            <a:xfrm>
              <a:off x="4463250" y="3129575"/>
              <a:ext cx="22075" cy="7975"/>
            </a:xfrm>
            <a:custGeom>
              <a:avLst/>
              <a:gdLst/>
              <a:ahLst/>
              <a:cxnLst/>
              <a:rect l="l" t="t" r="r" b="b"/>
              <a:pathLst>
                <a:path w="883" h="319" extrusionOk="0">
                  <a:moveTo>
                    <a:pt x="794" y="1"/>
                  </a:moveTo>
                  <a:cubicBezTo>
                    <a:pt x="768" y="1"/>
                    <a:pt x="742" y="8"/>
                    <a:pt x="717" y="14"/>
                  </a:cubicBezTo>
                  <a:cubicBezTo>
                    <a:pt x="685" y="21"/>
                    <a:pt x="653" y="31"/>
                    <a:pt x="622" y="39"/>
                  </a:cubicBezTo>
                  <a:cubicBezTo>
                    <a:pt x="561" y="56"/>
                    <a:pt x="500" y="73"/>
                    <a:pt x="439" y="91"/>
                  </a:cubicBezTo>
                  <a:cubicBezTo>
                    <a:pt x="379" y="108"/>
                    <a:pt x="318" y="125"/>
                    <a:pt x="258" y="145"/>
                  </a:cubicBezTo>
                  <a:lnTo>
                    <a:pt x="70" y="206"/>
                  </a:lnTo>
                  <a:cubicBezTo>
                    <a:pt x="0" y="222"/>
                    <a:pt x="20" y="319"/>
                    <a:pt x="81" y="319"/>
                  </a:cubicBezTo>
                  <a:cubicBezTo>
                    <a:pt x="87" y="319"/>
                    <a:pt x="93" y="318"/>
                    <a:pt x="100" y="316"/>
                  </a:cubicBezTo>
                  <a:lnTo>
                    <a:pt x="100" y="317"/>
                  </a:lnTo>
                  <a:lnTo>
                    <a:pt x="293" y="276"/>
                  </a:lnTo>
                  <a:cubicBezTo>
                    <a:pt x="356" y="264"/>
                    <a:pt x="417" y="248"/>
                    <a:pt x="478" y="233"/>
                  </a:cubicBezTo>
                  <a:cubicBezTo>
                    <a:pt x="539" y="219"/>
                    <a:pt x="601" y="204"/>
                    <a:pt x="662" y="188"/>
                  </a:cubicBezTo>
                  <a:cubicBezTo>
                    <a:pt x="694" y="179"/>
                    <a:pt x="727" y="172"/>
                    <a:pt x="757" y="163"/>
                  </a:cubicBezTo>
                  <a:cubicBezTo>
                    <a:pt x="798" y="150"/>
                    <a:pt x="847" y="140"/>
                    <a:pt x="867" y="99"/>
                  </a:cubicBezTo>
                  <a:cubicBezTo>
                    <a:pt x="883" y="70"/>
                    <a:pt x="873" y="33"/>
                    <a:pt x="845" y="15"/>
                  </a:cubicBezTo>
                  <a:cubicBezTo>
                    <a:pt x="829" y="4"/>
                    <a:pt x="812" y="1"/>
                    <a:pt x="79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38" name="Google Shape;38;p4"/>
            <p:cNvSpPr/>
            <p:nvPr/>
          </p:nvSpPr>
          <p:spPr>
            <a:xfrm>
              <a:off x="4088575" y="3140300"/>
              <a:ext cx="15225" cy="3725"/>
            </a:xfrm>
            <a:custGeom>
              <a:avLst/>
              <a:gdLst/>
              <a:ahLst/>
              <a:cxnLst/>
              <a:rect l="l" t="t" r="r" b="b"/>
              <a:pathLst>
                <a:path w="609" h="149" extrusionOk="0">
                  <a:moveTo>
                    <a:pt x="574" y="1"/>
                  </a:moveTo>
                  <a:cubicBezTo>
                    <a:pt x="553" y="1"/>
                    <a:pt x="534" y="8"/>
                    <a:pt x="514" y="14"/>
                  </a:cubicBezTo>
                  <a:cubicBezTo>
                    <a:pt x="492" y="19"/>
                    <a:pt x="471" y="25"/>
                    <a:pt x="449" y="31"/>
                  </a:cubicBezTo>
                  <a:cubicBezTo>
                    <a:pt x="406" y="44"/>
                    <a:pt x="362" y="54"/>
                    <a:pt x="316" y="62"/>
                  </a:cubicBezTo>
                  <a:cubicBezTo>
                    <a:pt x="250" y="73"/>
                    <a:pt x="184" y="78"/>
                    <a:pt x="117" y="78"/>
                  </a:cubicBezTo>
                  <a:cubicBezTo>
                    <a:pt x="94" y="78"/>
                    <a:pt x="71" y="78"/>
                    <a:pt x="49" y="76"/>
                  </a:cubicBezTo>
                  <a:cubicBezTo>
                    <a:pt x="48" y="76"/>
                    <a:pt x="47" y="76"/>
                    <a:pt x="46" y="76"/>
                  </a:cubicBezTo>
                  <a:cubicBezTo>
                    <a:pt x="0" y="76"/>
                    <a:pt x="0" y="146"/>
                    <a:pt x="46" y="146"/>
                  </a:cubicBezTo>
                  <a:cubicBezTo>
                    <a:pt x="47" y="146"/>
                    <a:pt x="48" y="146"/>
                    <a:pt x="49" y="146"/>
                  </a:cubicBezTo>
                  <a:cubicBezTo>
                    <a:pt x="77" y="148"/>
                    <a:pt x="106" y="149"/>
                    <a:pt x="135" y="149"/>
                  </a:cubicBezTo>
                  <a:cubicBezTo>
                    <a:pt x="200" y="149"/>
                    <a:pt x="266" y="144"/>
                    <a:pt x="330" y="134"/>
                  </a:cubicBezTo>
                  <a:cubicBezTo>
                    <a:pt x="377" y="127"/>
                    <a:pt x="422" y="118"/>
                    <a:pt x="467" y="106"/>
                  </a:cubicBezTo>
                  <a:cubicBezTo>
                    <a:pt x="488" y="99"/>
                    <a:pt x="509" y="92"/>
                    <a:pt x="530" y="84"/>
                  </a:cubicBezTo>
                  <a:cubicBezTo>
                    <a:pt x="553" y="75"/>
                    <a:pt x="582" y="68"/>
                    <a:pt x="597" y="48"/>
                  </a:cubicBezTo>
                  <a:cubicBezTo>
                    <a:pt x="608" y="34"/>
                    <a:pt x="608" y="6"/>
                    <a:pt x="585" y="1"/>
                  </a:cubicBezTo>
                  <a:cubicBezTo>
                    <a:pt x="582" y="1"/>
                    <a:pt x="578" y="1"/>
                    <a:pt x="57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3037638234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 2">
  <p:cSld name="CUSTOM_14_1">
    <p:spTree>
      <p:nvGrpSpPr>
        <p:cNvPr id="1" name="Shape 13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" name="Google Shape;137;p1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2"/>
              </a:buClr>
              <a:buSzPts val="2800"/>
              <a:buFont typeface="Chelsea Market"/>
              <a:buNone/>
              <a:defRPr sz="3733">
                <a:solidFill>
                  <a:schemeClr val="accent2"/>
                </a:solidFill>
                <a:latin typeface="Chelsea Market"/>
                <a:ea typeface="Chelsea Market"/>
                <a:cs typeface="Chelsea Market"/>
                <a:sym typeface="Chelsea Market"/>
              </a:defRPr>
            </a:lvl9pPr>
          </a:lstStyle>
          <a:p>
            <a:endParaRPr/>
          </a:p>
        </p:txBody>
      </p:sp>
      <p:sp>
        <p:nvSpPr>
          <p:cNvPr id="138" name="Google Shape;138;p14"/>
          <p:cNvSpPr txBox="1">
            <a:spLocks noGrp="1"/>
          </p:cNvSpPr>
          <p:nvPr>
            <p:ph type="title" idx="2"/>
          </p:nvPr>
        </p:nvSpPr>
        <p:spPr>
          <a:xfrm>
            <a:off x="5036524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39" name="Google Shape;139;p14"/>
          <p:cNvSpPr txBox="1">
            <a:spLocks noGrp="1"/>
          </p:cNvSpPr>
          <p:nvPr>
            <p:ph type="title" idx="3"/>
          </p:nvPr>
        </p:nvSpPr>
        <p:spPr>
          <a:xfrm>
            <a:off x="1380557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0" name="Google Shape;140;p14"/>
          <p:cNvSpPr txBox="1">
            <a:spLocks noGrp="1"/>
          </p:cNvSpPr>
          <p:nvPr>
            <p:ph type="title" idx="4"/>
          </p:nvPr>
        </p:nvSpPr>
        <p:spPr>
          <a:xfrm>
            <a:off x="5036524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1" name="Google Shape;141;p14"/>
          <p:cNvSpPr txBox="1">
            <a:spLocks noGrp="1"/>
          </p:cNvSpPr>
          <p:nvPr>
            <p:ph type="title" idx="5"/>
          </p:nvPr>
        </p:nvSpPr>
        <p:spPr>
          <a:xfrm>
            <a:off x="1380557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2" name="Google Shape;142;p14"/>
          <p:cNvSpPr txBox="1">
            <a:spLocks noGrp="1"/>
          </p:cNvSpPr>
          <p:nvPr>
            <p:ph type="title" idx="6"/>
          </p:nvPr>
        </p:nvSpPr>
        <p:spPr>
          <a:xfrm>
            <a:off x="5036549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3" name="Google Shape;143;p14"/>
          <p:cNvSpPr txBox="1">
            <a:spLocks noGrp="1"/>
          </p:cNvSpPr>
          <p:nvPr>
            <p:ph type="title" idx="7"/>
          </p:nvPr>
        </p:nvSpPr>
        <p:spPr>
          <a:xfrm>
            <a:off x="5036549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4" name="Google Shape;144;p14"/>
          <p:cNvSpPr txBox="1">
            <a:spLocks noGrp="1"/>
          </p:cNvSpPr>
          <p:nvPr>
            <p:ph type="title" idx="8"/>
          </p:nvPr>
        </p:nvSpPr>
        <p:spPr>
          <a:xfrm>
            <a:off x="1380533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45" name="Google Shape;145;p14"/>
          <p:cNvSpPr txBox="1">
            <a:spLocks noGrp="1"/>
          </p:cNvSpPr>
          <p:nvPr>
            <p:ph type="title" idx="9"/>
          </p:nvPr>
        </p:nvSpPr>
        <p:spPr>
          <a:xfrm>
            <a:off x="1380533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46" name="Google Shape;146;p14"/>
          <p:cNvSpPr txBox="1">
            <a:spLocks noGrp="1"/>
          </p:cNvSpPr>
          <p:nvPr>
            <p:ph type="title" idx="13" hasCustomPrompt="1"/>
          </p:nvPr>
        </p:nvSpPr>
        <p:spPr>
          <a:xfrm>
            <a:off x="1380581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7" name="Google Shape;147;p14"/>
          <p:cNvSpPr txBox="1">
            <a:spLocks noGrp="1"/>
          </p:cNvSpPr>
          <p:nvPr>
            <p:ph type="title" idx="14" hasCustomPrompt="1"/>
          </p:nvPr>
        </p:nvSpPr>
        <p:spPr>
          <a:xfrm>
            <a:off x="5036525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8" name="Google Shape;148;p14"/>
          <p:cNvSpPr txBox="1">
            <a:spLocks noGrp="1"/>
          </p:cNvSpPr>
          <p:nvPr>
            <p:ph type="title" idx="15" hasCustomPrompt="1"/>
          </p:nvPr>
        </p:nvSpPr>
        <p:spPr>
          <a:xfrm>
            <a:off x="1380599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49" name="Google Shape;149;p14"/>
          <p:cNvSpPr txBox="1">
            <a:spLocks noGrp="1"/>
          </p:cNvSpPr>
          <p:nvPr>
            <p:ph type="title" idx="16" hasCustomPrompt="1"/>
          </p:nvPr>
        </p:nvSpPr>
        <p:spPr>
          <a:xfrm>
            <a:off x="5036544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50" name="Google Shape;150;p14"/>
          <p:cNvSpPr txBox="1">
            <a:spLocks noGrp="1"/>
          </p:cNvSpPr>
          <p:nvPr>
            <p:ph type="title" idx="17"/>
          </p:nvPr>
        </p:nvSpPr>
        <p:spPr>
          <a:xfrm>
            <a:off x="8692515" y="2872779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1" name="Google Shape;151;p14"/>
          <p:cNvSpPr txBox="1">
            <a:spLocks noGrp="1"/>
          </p:cNvSpPr>
          <p:nvPr>
            <p:ph type="title" idx="18"/>
          </p:nvPr>
        </p:nvSpPr>
        <p:spPr>
          <a:xfrm>
            <a:off x="8692515" y="2562879"/>
            <a:ext cx="2147200" cy="513200"/>
          </a:xfrm>
          <a:prstGeom prst="rect">
            <a:avLst/>
          </a:prstGeom>
        </p:spPr>
        <p:txBody>
          <a:bodyPr spcFirstLastPara="1" wrap="square" lIns="91425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52" name="Google Shape;152;p14"/>
          <p:cNvSpPr txBox="1">
            <a:spLocks noGrp="1"/>
          </p:cNvSpPr>
          <p:nvPr>
            <p:ph type="title" idx="19"/>
          </p:nvPr>
        </p:nvSpPr>
        <p:spPr>
          <a:xfrm>
            <a:off x="8692515" y="4926000"/>
            <a:ext cx="21472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4"/>
              </a:buClr>
              <a:buSzPts val="1400"/>
              <a:buFont typeface="Josefin Slab"/>
              <a:buNone/>
              <a:defRPr sz="1867">
                <a:solidFill>
                  <a:schemeClr val="accent4"/>
                </a:solidFill>
                <a:latin typeface="Josefin Slab"/>
                <a:ea typeface="Josefin Slab"/>
                <a:cs typeface="Josefin Slab"/>
                <a:sym typeface="Josefin Slab"/>
              </a:defRPr>
            </a:lvl9pPr>
          </a:lstStyle>
          <a:p>
            <a:endParaRPr/>
          </a:p>
        </p:txBody>
      </p:sp>
      <p:sp>
        <p:nvSpPr>
          <p:cNvPr id="153" name="Google Shape;153;p14"/>
          <p:cNvSpPr txBox="1">
            <a:spLocks noGrp="1"/>
          </p:cNvSpPr>
          <p:nvPr>
            <p:ph type="title" idx="20"/>
          </p:nvPr>
        </p:nvSpPr>
        <p:spPr>
          <a:xfrm>
            <a:off x="8692515" y="4615999"/>
            <a:ext cx="2147200" cy="51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1pPr>
            <a:lvl2pPr lvl="1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  <p:sp>
        <p:nvSpPr>
          <p:cNvPr id="154" name="Google Shape;154;p14"/>
          <p:cNvSpPr txBox="1">
            <a:spLocks noGrp="1"/>
          </p:cNvSpPr>
          <p:nvPr>
            <p:ph type="title" idx="21" hasCustomPrompt="1"/>
          </p:nvPr>
        </p:nvSpPr>
        <p:spPr>
          <a:xfrm>
            <a:off x="8692515" y="1494367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155" name="Google Shape;155;p14"/>
          <p:cNvSpPr txBox="1">
            <a:spLocks noGrp="1"/>
          </p:cNvSpPr>
          <p:nvPr>
            <p:ph type="title" idx="22" hasCustomPrompt="1"/>
          </p:nvPr>
        </p:nvSpPr>
        <p:spPr>
          <a:xfrm>
            <a:off x="8692515" y="3547588"/>
            <a:ext cx="1244800" cy="1060800"/>
          </a:xfrm>
          <a:prstGeom prst="rect">
            <a:avLst/>
          </a:prstGeom>
        </p:spPr>
        <p:txBody>
          <a:bodyPr spcFirstLastPara="1" wrap="square" lIns="0" tIns="91425" rIns="0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5333">
                <a:solidFill>
                  <a:schemeClr val="accent1"/>
                </a:solidFill>
              </a:defRPr>
            </a:lvl1pPr>
            <a:lvl2pPr lvl="1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2pPr>
            <a:lvl3pPr lvl="2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3pPr>
            <a:lvl4pPr lvl="3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4pPr>
            <a:lvl5pPr lvl="4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5pPr>
            <a:lvl6pPr lvl="5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6pPr>
            <a:lvl7pPr lvl="6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7pPr>
            <a:lvl8pPr lvl="7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8pPr>
            <a:lvl9pPr lvl="8" algn="r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6000"/>
              <a:buNone/>
              <a:defRPr sz="8000">
                <a:solidFill>
                  <a:schemeClr val="accent1"/>
                </a:solidFill>
              </a:defRPr>
            </a:lvl9pPr>
          </a:lstStyle>
          <a:p>
            <a:r>
              <a:t>xx%</a:t>
            </a:r>
          </a:p>
        </p:txBody>
      </p:sp>
      <p:grpSp>
        <p:nvGrpSpPr>
          <p:cNvPr id="156" name="Google Shape;156;p14"/>
          <p:cNvGrpSpPr/>
          <p:nvPr/>
        </p:nvGrpSpPr>
        <p:grpSpPr>
          <a:xfrm>
            <a:off x="5729194" y="-2356691"/>
            <a:ext cx="6616353" cy="4906852"/>
            <a:chOff x="4822800" y="2395325"/>
            <a:chExt cx="807450" cy="598825"/>
          </a:xfrm>
        </p:grpSpPr>
        <p:sp>
          <p:nvSpPr>
            <p:cNvPr id="157" name="Google Shape;157;p14"/>
            <p:cNvSpPr/>
            <p:nvPr/>
          </p:nvSpPr>
          <p:spPr>
            <a:xfrm>
              <a:off x="5094575" y="2654525"/>
              <a:ext cx="12650" cy="3625"/>
            </a:xfrm>
            <a:custGeom>
              <a:avLst/>
              <a:gdLst/>
              <a:ahLst/>
              <a:cxnLst/>
              <a:rect l="l" t="t" r="r" b="b"/>
              <a:pathLst>
                <a:path w="506" h="145" extrusionOk="0">
                  <a:moveTo>
                    <a:pt x="70" y="0"/>
                  </a:moveTo>
                  <a:cubicBezTo>
                    <a:pt x="34" y="0"/>
                    <a:pt x="0" y="37"/>
                    <a:pt x="2" y="72"/>
                  </a:cubicBezTo>
                  <a:cubicBezTo>
                    <a:pt x="3" y="107"/>
                    <a:pt x="32" y="145"/>
                    <a:pt x="70" y="145"/>
                  </a:cubicBezTo>
                  <a:cubicBezTo>
                    <a:pt x="71" y="145"/>
                    <a:pt x="73" y="145"/>
                    <a:pt x="74" y="145"/>
                  </a:cubicBezTo>
                  <a:cubicBezTo>
                    <a:pt x="143" y="138"/>
                    <a:pt x="210" y="133"/>
                    <a:pt x="279" y="127"/>
                  </a:cubicBezTo>
                  <a:cubicBezTo>
                    <a:pt x="312" y="124"/>
                    <a:pt x="346" y="121"/>
                    <a:pt x="379" y="118"/>
                  </a:cubicBezTo>
                  <a:cubicBezTo>
                    <a:pt x="398" y="116"/>
                    <a:pt x="416" y="112"/>
                    <a:pt x="435" y="109"/>
                  </a:cubicBezTo>
                  <a:cubicBezTo>
                    <a:pt x="452" y="107"/>
                    <a:pt x="467" y="102"/>
                    <a:pt x="483" y="97"/>
                  </a:cubicBezTo>
                  <a:cubicBezTo>
                    <a:pt x="505" y="88"/>
                    <a:pt x="505" y="56"/>
                    <a:pt x="483" y="48"/>
                  </a:cubicBezTo>
                  <a:cubicBezTo>
                    <a:pt x="467" y="42"/>
                    <a:pt x="452" y="38"/>
                    <a:pt x="435" y="36"/>
                  </a:cubicBezTo>
                  <a:cubicBezTo>
                    <a:pt x="416" y="33"/>
                    <a:pt x="398" y="29"/>
                    <a:pt x="379" y="27"/>
                  </a:cubicBezTo>
                  <a:cubicBezTo>
                    <a:pt x="346" y="22"/>
                    <a:pt x="312" y="21"/>
                    <a:pt x="279" y="18"/>
                  </a:cubicBezTo>
                  <a:cubicBezTo>
                    <a:pt x="210" y="11"/>
                    <a:pt x="143" y="7"/>
                    <a:pt x="74" y="0"/>
                  </a:cubicBezTo>
                  <a:cubicBezTo>
                    <a:pt x="73" y="0"/>
                    <a:pt x="71" y="0"/>
                    <a:pt x="70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8" name="Google Shape;158;p14"/>
            <p:cNvSpPr/>
            <p:nvPr/>
          </p:nvSpPr>
          <p:spPr>
            <a:xfrm>
              <a:off x="5106150" y="2668325"/>
              <a:ext cx="8925" cy="3875"/>
            </a:xfrm>
            <a:custGeom>
              <a:avLst/>
              <a:gdLst/>
              <a:ahLst/>
              <a:cxnLst/>
              <a:rect l="l" t="t" r="r" b="b"/>
              <a:pathLst>
                <a:path w="357" h="155" extrusionOk="0">
                  <a:moveTo>
                    <a:pt x="154" y="1"/>
                  </a:moveTo>
                  <a:cubicBezTo>
                    <a:pt x="128" y="1"/>
                    <a:pt x="101" y="2"/>
                    <a:pt x="75" y="3"/>
                  </a:cubicBezTo>
                  <a:cubicBezTo>
                    <a:pt x="34" y="3"/>
                    <a:pt x="1" y="36"/>
                    <a:pt x="0" y="78"/>
                  </a:cubicBezTo>
                  <a:cubicBezTo>
                    <a:pt x="1" y="119"/>
                    <a:pt x="34" y="151"/>
                    <a:pt x="75" y="152"/>
                  </a:cubicBezTo>
                  <a:cubicBezTo>
                    <a:pt x="104" y="152"/>
                    <a:pt x="133" y="154"/>
                    <a:pt x="161" y="154"/>
                  </a:cubicBezTo>
                  <a:cubicBezTo>
                    <a:pt x="171" y="154"/>
                    <a:pt x="180" y="154"/>
                    <a:pt x="190" y="154"/>
                  </a:cubicBezTo>
                  <a:lnTo>
                    <a:pt x="245" y="150"/>
                  </a:lnTo>
                  <a:cubicBezTo>
                    <a:pt x="255" y="150"/>
                    <a:pt x="265" y="149"/>
                    <a:pt x="275" y="148"/>
                  </a:cubicBezTo>
                  <a:cubicBezTo>
                    <a:pt x="298" y="147"/>
                    <a:pt x="320" y="137"/>
                    <a:pt x="333" y="120"/>
                  </a:cubicBezTo>
                  <a:cubicBezTo>
                    <a:pt x="357" y="96"/>
                    <a:pt x="357" y="59"/>
                    <a:pt x="333" y="35"/>
                  </a:cubicBezTo>
                  <a:cubicBezTo>
                    <a:pt x="320" y="18"/>
                    <a:pt x="298" y="7"/>
                    <a:pt x="275" y="6"/>
                  </a:cubicBezTo>
                  <a:cubicBezTo>
                    <a:pt x="265" y="5"/>
                    <a:pt x="255" y="5"/>
                    <a:pt x="245" y="5"/>
                  </a:cubicBezTo>
                  <a:lnTo>
                    <a:pt x="190" y="2"/>
                  </a:lnTo>
                  <a:cubicBezTo>
                    <a:pt x="178" y="1"/>
                    <a:pt x="166" y="1"/>
                    <a:pt x="1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59" name="Google Shape;159;p14"/>
            <p:cNvSpPr/>
            <p:nvPr/>
          </p:nvSpPr>
          <p:spPr>
            <a:xfrm>
              <a:off x="4822800" y="2395325"/>
              <a:ext cx="807450" cy="598825"/>
            </a:xfrm>
            <a:custGeom>
              <a:avLst/>
              <a:gdLst/>
              <a:ahLst/>
              <a:cxnLst/>
              <a:rect l="l" t="t" r="r" b="b"/>
              <a:pathLst>
                <a:path w="32298" h="23953" extrusionOk="0">
                  <a:moveTo>
                    <a:pt x="5555" y="1"/>
                  </a:moveTo>
                  <a:cubicBezTo>
                    <a:pt x="3688" y="1"/>
                    <a:pt x="1707" y="413"/>
                    <a:pt x="0" y="571"/>
                  </a:cubicBezTo>
                  <a:cubicBezTo>
                    <a:pt x="2931" y="938"/>
                    <a:pt x="4272" y="2206"/>
                    <a:pt x="6023" y="3779"/>
                  </a:cubicBezTo>
                  <a:cubicBezTo>
                    <a:pt x="7865" y="5435"/>
                    <a:pt x="9279" y="7799"/>
                    <a:pt x="10017" y="10455"/>
                  </a:cubicBezTo>
                  <a:cubicBezTo>
                    <a:pt x="10241" y="11259"/>
                    <a:pt x="10409" y="12099"/>
                    <a:pt x="10773" y="12822"/>
                  </a:cubicBezTo>
                  <a:cubicBezTo>
                    <a:pt x="11147" y="13561"/>
                    <a:pt x="11706" y="14129"/>
                    <a:pt x="12295" y="14611"/>
                  </a:cubicBezTo>
                  <a:cubicBezTo>
                    <a:pt x="15119" y="16922"/>
                    <a:pt x="18633" y="17424"/>
                    <a:pt x="21910" y="18507"/>
                  </a:cubicBezTo>
                  <a:cubicBezTo>
                    <a:pt x="22992" y="18864"/>
                    <a:pt x="24051" y="19287"/>
                    <a:pt x="25081" y="19772"/>
                  </a:cubicBezTo>
                  <a:cubicBezTo>
                    <a:pt x="26833" y="20595"/>
                    <a:pt x="28937" y="21544"/>
                    <a:pt x="30375" y="23061"/>
                  </a:cubicBezTo>
                  <a:cubicBezTo>
                    <a:pt x="30682" y="23384"/>
                    <a:pt x="31130" y="23952"/>
                    <a:pt x="31503" y="23952"/>
                  </a:cubicBezTo>
                  <a:cubicBezTo>
                    <a:pt x="31688" y="23952"/>
                    <a:pt x="31855" y="23813"/>
                    <a:pt x="31977" y="23437"/>
                  </a:cubicBezTo>
                  <a:cubicBezTo>
                    <a:pt x="32297" y="22448"/>
                    <a:pt x="32268" y="20901"/>
                    <a:pt x="31982" y="19913"/>
                  </a:cubicBezTo>
                  <a:cubicBezTo>
                    <a:pt x="31609" y="18622"/>
                    <a:pt x="30656" y="17722"/>
                    <a:pt x="29677" y="17069"/>
                  </a:cubicBezTo>
                  <a:cubicBezTo>
                    <a:pt x="27475" y="15600"/>
                    <a:pt x="24964" y="15023"/>
                    <a:pt x="22573" y="14102"/>
                  </a:cubicBezTo>
                  <a:cubicBezTo>
                    <a:pt x="20181" y="13180"/>
                    <a:pt x="17756" y="11773"/>
                    <a:pt x="16373" y="9204"/>
                  </a:cubicBezTo>
                  <a:cubicBezTo>
                    <a:pt x="15763" y="8075"/>
                    <a:pt x="15389" y="6778"/>
                    <a:pt x="14833" y="5608"/>
                  </a:cubicBezTo>
                  <a:cubicBezTo>
                    <a:pt x="13503" y="2812"/>
                    <a:pt x="10931" y="1449"/>
                    <a:pt x="8419" y="466"/>
                  </a:cubicBezTo>
                  <a:cubicBezTo>
                    <a:pt x="7538" y="121"/>
                    <a:pt x="6563" y="1"/>
                    <a:pt x="5555" y="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0" name="Google Shape;160;p14"/>
            <p:cNvSpPr/>
            <p:nvPr/>
          </p:nvSpPr>
          <p:spPr>
            <a:xfrm>
              <a:off x="4999325" y="2416675"/>
              <a:ext cx="14800" cy="4675"/>
            </a:xfrm>
            <a:custGeom>
              <a:avLst/>
              <a:gdLst/>
              <a:ahLst/>
              <a:cxnLst/>
              <a:rect l="l" t="t" r="r" b="b"/>
              <a:pathLst>
                <a:path w="592" h="187" extrusionOk="0">
                  <a:moveTo>
                    <a:pt x="227" y="1"/>
                  </a:moveTo>
                  <a:cubicBezTo>
                    <a:pt x="221" y="1"/>
                    <a:pt x="215" y="1"/>
                    <a:pt x="209" y="1"/>
                  </a:cubicBezTo>
                  <a:cubicBezTo>
                    <a:pt x="169" y="1"/>
                    <a:pt x="129" y="4"/>
                    <a:pt x="89" y="9"/>
                  </a:cubicBezTo>
                  <a:cubicBezTo>
                    <a:pt x="65" y="9"/>
                    <a:pt x="43" y="19"/>
                    <a:pt x="26" y="36"/>
                  </a:cubicBezTo>
                  <a:cubicBezTo>
                    <a:pt x="10" y="52"/>
                    <a:pt x="0" y="74"/>
                    <a:pt x="0" y="98"/>
                  </a:cubicBezTo>
                  <a:cubicBezTo>
                    <a:pt x="0" y="121"/>
                    <a:pt x="10" y="143"/>
                    <a:pt x="26" y="160"/>
                  </a:cubicBezTo>
                  <a:cubicBezTo>
                    <a:pt x="41" y="173"/>
                    <a:pt x="62" y="187"/>
                    <a:pt x="84" y="187"/>
                  </a:cubicBezTo>
                  <a:cubicBezTo>
                    <a:pt x="86" y="187"/>
                    <a:pt x="87" y="187"/>
                    <a:pt x="89" y="187"/>
                  </a:cubicBezTo>
                  <a:lnTo>
                    <a:pt x="89" y="186"/>
                  </a:lnTo>
                  <a:cubicBezTo>
                    <a:pt x="127" y="180"/>
                    <a:pt x="165" y="178"/>
                    <a:pt x="204" y="176"/>
                  </a:cubicBezTo>
                  <a:cubicBezTo>
                    <a:pt x="216" y="176"/>
                    <a:pt x="229" y="177"/>
                    <a:pt x="243" y="177"/>
                  </a:cubicBezTo>
                  <a:cubicBezTo>
                    <a:pt x="249" y="177"/>
                    <a:pt x="256" y="176"/>
                    <a:pt x="263" y="176"/>
                  </a:cubicBezTo>
                  <a:lnTo>
                    <a:pt x="278" y="174"/>
                  </a:lnTo>
                  <a:lnTo>
                    <a:pt x="278" y="174"/>
                  </a:lnTo>
                  <a:cubicBezTo>
                    <a:pt x="280" y="174"/>
                    <a:pt x="282" y="175"/>
                    <a:pt x="284" y="175"/>
                  </a:cubicBezTo>
                  <a:cubicBezTo>
                    <a:pt x="286" y="175"/>
                    <a:pt x="288" y="174"/>
                    <a:pt x="290" y="174"/>
                  </a:cubicBezTo>
                  <a:lnTo>
                    <a:pt x="322" y="174"/>
                  </a:lnTo>
                  <a:cubicBezTo>
                    <a:pt x="332" y="174"/>
                    <a:pt x="342" y="175"/>
                    <a:pt x="351" y="175"/>
                  </a:cubicBezTo>
                  <a:cubicBezTo>
                    <a:pt x="365" y="175"/>
                    <a:pt x="379" y="174"/>
                    <a:pt x="392" y="169"/>
                  </a:cubicBezTo>
                  <a:lnTo>
                    <a:pt x="404" y="169"/>
                  </a:lnTo>
                  <a:cubicBezTo>
                    <a:pt x="414" y="169"/>
                    <a:pt x="425" y="169"/>
                    <a:pt x="434" y="170"/>
                  </a:cubicBezTo>
                  <a:cubicBezTo>
                    <a:pt x="453" y="171"/>
                    <a:pt x="471" y="172"/>
                    <a:pt x="489" y="174"/>
                  </a:cubicBezTo>
                  <a:cubicBezTo>
                    <a:pt x="497" y="175"/>
                    <a:pt x="504" y="175"/>
                    <a:pt x="512" y="175"/>
                  </a:cubicBezTo>
                  <a:cubicBezTo>
                    <a:pt x="526" y="175"/>
                    <a:pt x="540" y="174"/>
                    <a:pt x="554" y="172"/>
                  </a:cubicBezTo>
                  <a:cubicBezTo>
                    <a:pt x="583" y="168"/>
                    <a:pt x="592" y="124"/>
                    <a:pt x="571" y="105"/>
                  </a:cubicBezTo>
                  <a:cubicBezTo>
                    <a:pt x="539" y="77"/>
                    <a:pt x="498" y="63"/>
                    <a:pt x="458" y="50"/>
                  </a:cubicBezTo>
                  <a:lnTo>
                    <a:pt x="428" y="39"/>
                  </a:lnTo>
                  <a:lnTo>
                    <a:pt x="413" y="35"/>
                  </a:lnTo>
                  <a:lnTo>
                    <a:pt x="411" y="34"/>
                  </a:lnTo>
                  <a:lnTo>
                    <a:pt x="411" y="34"/>
                  </a:lnTo>
                  <a:cubicBezTo>
                    <a:pt x="408" y="32"/>
                    <a:pt x="404" y="29"/>
                    <a:pt x="401" y="27"/>
                  </a:cubicBezTo>
                  <a:cubicBezTo>
                    <a:pt x="392" y="22"/>
                    <a:pt x="383" y="19"/>
                    <a:pt x="373" y="17"/>
                  </a:cubicBezTo>
                  <a:cubicBezTo>
                    <a:pt x="363" y="15"/>
                    <a:pt x="352" y="14"/>
                    <a:pt x="343" y="13"/>
                  </a:cubicBezTo>
                  <a:cubicBezTo>
                    <a:pt x="328" y="11"/>
                    <a:pt x="313" y="8"/>
                    <a:pt x="298" y="6"/>
                  </a:cubicBezTo>
                  <a:cubicBezTo>
                    <a:pt x="295" y="6"/>
                    <a:pt x="289" y="5"/>
                    <a:pt x="285" y="5"/>
                  </a:cubicBezTo>
                  <a:lnTo>
                    <a:pt x="285" y="5"/>
                  </a:lnTo>
                  <a:cubicBezTo>
                    <a:pt x="285" y="5"/>
                    <a:pt x="285" y="5"/>
                    <a:pt x="285" y="5"/>
                  </a:cubicBezTo>
                  <a:cubicBezTo>
                    <a:pt x="265" y="2"/>
                    <a:pt x="246" y="1"/>
                    <a:pt x="227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1" name="Google Shape;161;p14"/>
            <p:cNvSpPr/>
            <p:nvPr/>
          </p:nvSpPr>
          <p:spPr>
            <a:xfrm>
              <a:off x="4999025" y="2416600"/>
              <a:ext cx="5025" cy="4925"/>
            </a:xfrm>
            <a:custGeom>
              <a:avLst/>
              <a:gdLst/>
              <a:ahLst/>
              <a:cxnLst/>
              <a:rect l="l" t="t" r="r" b="b"/>
              <a:pathLst>
                <a:path w="201" h="197" extrusionOk="0">
                  <a:moveTo>
                    <a:pt x="101" y="1"/>
                  </a:moveTo>
                  <a:cubicBezTo>
                    <a:pt x="49" y="1"/>
                    <a:pt x="0" y="46"/>
                    <a:pt x="3" y="99"/>
                  </a:cubicBezTo>
                  <a:cubicBezTo>
                    <a:pt x="4" y="153"/>
                    <a:pt x="47" y="197"/>
                    <a:pt x="101" y="197"/>
                  </a:cubicBezTo>
                  <a:cubicBezTo>
                    <a:pt x="152" y="197"/>
                    <a:pt x="201" y="153"/>
                    <a:pt x="199" y="99"/>
                  </a:cubicBezTo>
                  <a:cubicBezTo>
                    <a:pt x="198" y="45"/>
                    <a:pt x="154" y="2"/>
                    <a:pt x="101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2" name="Google Shape;162;p14"/>
            <p:cNvSpPr/>
            <p:nvPr/>
          </p:nvSpPr>
          <p:spPr>
            <a:xfrm>
              <a:off x="5016350" y="2430825"/>
              <a:ext cx="14400" cy="4225"/>
            </a:xfrm>
            <a:custGeom>
              <a:avLst/>
              <a:gdLst/>
              <a:ahLst/>
              <a:cxnLst/>
              <a:rect l="l" t="t" r="r" b="b"/>
              <a:pathLst>
                <a:path w="576" h="169" extrusionOk="0">
                  <a:moveTo>
                    <a:pt x="414" y="0"/>
                  </a:moveTo>
                  <a:cubicBezTo>
                    <a:pt x="375" y="0"/>
                    <a:pt x="335" y="2"/>
                    <a:pt x="296" y="5"/>
                  </a:cubicBezTo>
                  <a:cubicBezTo>
                    <a:pt x="214" y="13"/>
                    <a:pt x="132" y="28"/>
                    <a:pt x="52" y="49"/>
                  </a:cubicBezTo>
                  <a:cubicBezTo>
                    <a:pt x="19" y="57"/>
                    <a:pt x="0" y="91"/>
                    <a:pt x="9" y="125"/>
                  </a:cubicBezTo>
                  <a:cubicBezTo>
                    <a:pt x="17" y="151"/>
                    <a:pt x="42" y="169"/>
                    <a:pt x="69" y="169"/>
                  </a:cubicBezTo>
                  <a:cubicBezTo>
                    <a:pt x="74" y="169"/>
                    <a:pt x="79" y="168"/>
                    <a:pt x="84" y="167"/>
                  </a:cubicBezTo>
                  <a:cubicBezTo>
                    <a:pt x="120" y="158"/>
                    <a:pt x="157" y="150"/>
                    <a:pt x="195" y="144"/>
                  </a:cubicBezTo>
                  <a:lnTo>
                    <a:pt x="223" y="139"/>
                  </a:lnTo>
                  <a:lnTo>
                    <a:pt x="238" y="137"/>
                  </a:lnTo>
                  <a:lnTo>
                    <a:pt x="241" y="137"/>
                  </a:lnTo>
                  <a:cubicBezTo>
                    <a:pt x="259" y="135"/>
                    <a:pt x="280" y="133"/>
                    <a:pt x="300" y="131"/>
                  </a:cubicBezTo>
                  <a:cubicBezTo>
                    <a:pt x="336" y="128"/>
                    <a:pt x="374" y="127"/>
                    <a:pt x="412" y="126"/>
                  </a:cubicBezTo>
                  <a:lnTo>
                    <a:pt x="468" y="126"/>
                  </a:lnTo>
                  <a:cubicBezTo>
                    <a:pt x="471" y="126"/>
                    <a:pt x="474" y="126"/>
                    <a:pt x="477" y="126"/>
                  </a:cubicBezTo>
                  <a:cubicBezTo>
                    <a:pt x="497" y="126"/>
                    <a:pt x="516" y="123"/>
                    <a:pt x="536" y="116"/>
                  </a:cubicBezTo>
                  <a:cubicBezTo>
                    <a:pt x="555" y="111"/>
                    <a:pt x="569" y="94"/>
                    <a:pt x="573" y="73"/>
                  </a:cubicBezTo>
                  <a:cubicBezTo>
                    <a:pt x="576" y="53"/>
                    <a:pt x="565" y="32"/>
                    <a:pt x="547" y="22"/>
                  </a:cubicBezTo>
                  <a:cubicBezTo>
                    <a:pt x="537" y="16"/>
                    <a:pt x="525" y="11"/>
                    <a:pt x="513" y="6"/>
                  </a:cubicBezTo>
                  <a:cubicBezTo>
                    <a:pt x="500" y="3"/>
                    <a:pt x="487" y="2"/>
                    <a:pt x="475" y="2"/>
                  </a:cubicBezTo>
                  <a:cubicBezTo>
                    <a:pt x="455" y="1"/>
                    <a:pt x="436" y="0"/>
                    <a:pt x="414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3" name="Google Shape;163;p14"/>
            <p:cNvSpPr/>
            <p:nvPr/>
          </p:nvSpPr>
          <p:spPr>
            <a:xfrm>
              <a:off x="5136400" y="2735125"/>
              <a:ext cx="10200" cy="3250"/>
            </a:xfrm>
            <a:custGeom>
              <a:avLst/>
              <a:gdLst/>
              <a:ahLst/>
              <a:cxnLst/>
              <a:rect l="l" t="t" r="r" b="b"/>
              <a:pathLst>
                <a:path w="408" h="130" extrusionOk="0">
                  <a:moveTo>
                    <a:pt x="131" y="0"/>
                  </a:moveTo>
                  <a:cubicBezTo>
                    <a:pt x="102" y="1"/>
                    <a:pt x="72" y="5"/>
                    <a:pt x="43" y="10"/>
                  </a:cubicBezTo>
                  <a:cubicBezTo>
                    <a:pt x="18" y="17"/>
                    <a:pt x="1" y="39"/>
                    <a:pt x="1" y="65"/>
                  </a:cubicBezTo>
                  <a:cubicBezTo>
                    <a:pt x="2" y="88"/>
                    <a:pt x="17" y="116"/>
                    <a:pt x="43" y="120"/>
                  </a:cubicBezTo>
                  <a:lnTo>
                    <a:pt x="43" y="119"/>
                  </a:lnTo>
                  <a:cubicBezTo>
                    <a:pt x="72" y="126"/>
                    <a:pt x="102" y="129"/>
                    <a:pt x="131" y="130"/>
                  </a:cubicBezTo>
                  <a:lnTo>
                    <a:pt x="205" y="130"/>
                  </a:lnTo>
                  <a:cubicBezTo>
                    <a:pt x="229" y="130"/>
                    <a:pt x="255" y="130"/>
                    <a:pt x="279" y="129"/>
                  </a:cubicBezTo>
                  <a:cubicBezTo>
                    <a:pt x="292" y="129"/>
                    <a:pt x="305" y="128"/>
                    <a:pt x="318" y="127"/>
                  </a:cubicBezTo>
                  <a:cubicBezTo>
                    <a:pt x="327" y="127"/>
                    <a:pt x="337" y="126"/>
                    <a:pt x="346" y="124"/>
                  </a:cubicBezTo>
                  <a:cubicBezTo>
                    <a:pt x="356" y="120"/>
                    <a:pt x="365" y="116"/>
                    <a:pt x="373" y="110"/>
                  </a:cubicBezTo>
                  <a:cubicBezTo>
                    <a:pt x="408" y="90"/>
                    <a:pt x="408" y="39"/>
                    <a:pt x="373" y="19"/>
                  </a:cubicBezTo>
                  <a:cubicBezTo>
                    <a:pt x="365" y="13"/>
                    <a:pt x="356" y="9"/>
                    <a:pt x="346" y="6"/>
                  </a:cubicBezTo>
                  <a:cubicBezTo>
                    <a:pt x="337" y="3"/>
                    <a:pt x="327" y="2"/>
                    <a:pt x="319" y="2"/>
                  </a:cubicBezTo>
                  <a:cubicBezTo>
                    <a:pt x="305" y="2"/>
                    <a:pt x="293" y="1"/>
                    <a:pt x="279" y="1"/>
                  </a:cubicBezTo>
                  <a:cubicBezTo>
                    <a:pt x="255" y="0"/>
                    <a:pt x="230" y="0"/>
                    <a:pt x="20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4" name="Google Shape;164;p14"/>
            <p:cNvSpPr/>
            <p:nvPr/>
          </p:nvSpPr>
          <p:spPr>
            <a:xfrm>
              <a:off x="5140125" y="2750750"/>
              <a:ext cx="19950" cy="2875"/>
            </a:xfrm>
            <a:custGeom>
              <a:avLst/>
              <a:gdLst/>
              <a:ahLst/>
              <a:cxnLst/>
              <a:rect l="l" t="t" r="r" b="b"/>
              <a:pathLst>
                <a:path w="798" h="115" extrusionOk="0">
                  <a:moveTo>
                    <a:pt x="407" y="1"/>
                  </a:moveTo>
                  <a:lnTo>
                    <a:pt x="53" y="4"/>
                  </a:lnTo>
                  <a:cubicBezTo>
                    <a:pt x="24" y="4"/>
                    <a:pt x="1" y="27"/>
                    <a:pt x="0" y="56"/>
                  </a:cubicBezTo>
                  <a:cubicBezTo>
                    <a:pt x="1" y="85"/>
                    <a:pt x="24" y="108"/>
                    <a:pt x="53" y="109"/>
                  </a:cubicBezTo>
                  <a:lnTo>
                    <a:pt x="53" y="112"/>
                  </a:lnTo>
                  <a:lnTo>
                    <a:pt x="407" y="114"/>
                  </a:lnTo>
                  <a:lnTo>
                    <a:pt x="538" y="114"/>
                  </a:lnTo>
                  <a:cubicBezTo>
                    <a:pt x="554" y="113"/>
                    <a:pt x="571" y="109"/>
                    <a:pt x="584" y="108"/>
                  </a:cubicBezTo>
                  <a:lnTo>
                    <a:pt x="670" y="103"/>
                  </a:lnTo>
                  <a:cubicBezTo>
                    <a:pt x="701" y="103"/>
                    <a:pt x="733" y="99"/>
                    <a:pt x="764" y="90"/>
                  </a:cubicBezTo>
                  <a:cubicBezTo>
                    <a:pt x="797" y="81"/>
                    <a:pt x="797" y="34"/>
                    <a:pt x="764" y="25"/>
                  </a:cubicBezTo>
                  <a:cubicBezTo>
                    <a:pt x="733" y="16"/>
                    <a:pt x="701" y="12"/>
                    <a:pt x="670" y="12"/>
                  </a:cubicBezTo>
                  <a:lnTo>
                    <a:pt x="584" y="7"/>
                  </a:lnTo>
                  <a:cubicBezTo>
                    <a:pt x="571" y="6"/>
                    <a:pt x="555" y="2"/>
                    <a:pt x="538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5" name="Google Shape;165;p14"/>
            <p:cNvSpPr/>
            <p:nvPr/>
          </p:nvSpPr>
          <p:spPr>
            <a:xfrm>
              <a:off x="5574550" y="2840650"/>
              <a:ext cx="12700" cy="3500"/>
            </a:xfrm>
            <a:custGeom>
              <a:avLst/>
              <a:gdLst/>
              <a:ahLst/>
              <a:cxnLst/>
              <a:rect l="l" t="t" r="r" b="b"/>
              <a:pathLst>
                <a:path w="508" h="140" extrusionOk="0">
                  <a:moveTo>
                    <a:pt x="54" y="1"/>
                  </a:moveTo>
                  <a:cubicBezTo>
                    <a:pt x="26" y="1"/>
                    <a:pt x="1" y="31"/>
                    <a:pt x="3" y="58"/>
                  </a:cubicBezTo>
                  <a:cubicBezTo>
                    <a:pt x="3" y="88"/>
                    <a:pt x="28" y="113"/>
                    <a:pt x="59" y="114"/>
                  </a:cubicBezTo>
                  <a:lnTo>
                    <a:pt x="275" y="136"/>
                  </a:lnTo>
                  <a:cubicBezTo>
                    <a:pt x="309" y="139"/>
                    <a:pt x="344" y="140"/>
                    <a:pt x="379" y="140"/>
                  </a:cubicBezTo>
                  <a:lnTo>
                    <a:pt x="435" y="140"/>
                  </a:lnTo>
                  <a:cubicBezTo>
                    <a:pt x="437" y="140"/>
                    <a:pt x="440" y="140"/>
                    <a:pt x="442" y="140"/>
                  </a:cubicBezTo>
                  <a:cubicBezTo>
                    <a:pt x="461" y="140"/>
                    <a:pt x="482" y="139"/>
                    <a:pt x="495" y="124"/>
                  </a:cubicBezTo>
                  <a:cubicBezTo>
                    <a:pt x="506" y="113"/>
                    <a:pt x="508" y="96"/>
                    <a:pt x="500" y="83"/>
                  </a:cubicBezTo>
                  <a:cubicBezTo>
                    <a:pt x="490" y="62"/>
                    <a:pt x="468" y="58"/>
                    <a:pt x="447" y="54"/>
                  </a:cubicBezTo>
                  <a:lnTo>
                    <a:pt x="396" y="43"/>
                  </a:lnTo>
                  <a:cubicBezTo>
                    <a:pt x="357" y="36"/>
                    <a:pt x="318" y="28"/>
                    <a:pt x="278" y="24"/>
                  </a:cubicBezTo>
                  <a:lnTo>
                    <a:pt x="59" y="1"/>
                  </a:lnTo>
                  <a:cubicBezTo>
                    <a:pt x="57" y="1"/>
                    <a:pt x="56" y="1"/>
                    <a:pt x="54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6" name="Google Shape;166;p14"/>
            <p:cNvSpPr/>
            <p:nvPr/>
          </p:nvSpPr>
          <p:spPr>
            <a:xfrm>
              <a:off x="5569225" y="2853800"/>
              <a:ext cx="12600" cy="3100"/>
            </a:xfrm>
            <a:custGeom>
              <a:avLst/>
              <a:gdLst/>
              <a:ahLst/>
              <a:cxnLst/>
              <a:rect l="l" t="t" r="r" b="b"/>
              <a:pathLst>
                <a:path w="504" h="124" extrusionOk="0">
                  <a:moveTo>
                    <a:pt x="180" y="1"/>
                  </a:moveTo>
                  <a:cubicBezTo>
                    <a:pt x="148" y="1"/>
                    <a:pt x="117" y="1"/>
                    <a:pt x="85" y="1"/>
                  </a:cubicBezTo>
                  <a:cubicBezTo>
                    <a:pt x="84" y="1"/>
                    <a:pt x="82" y="1"/>
                    <a:pt x="81" y="1"/>
                  </a:cubicBezTo>
                  <a:cubicBezTo>
                    <a:pt x="1" y="1"/>
                    <a:pt x="1" y="123"/>
                    <a:pt x="81" y="123"/>
                  </a:cubicBezTo>
                  <a:cubicBezTo>
                    <a:pt x="82" y="123"/>
                    <a:pt x="84" y="123"/>
                    <a:pt x="85" y="123"/>
                  </a:cubicBezTo>
                  <a:lnTo>
                    <a:pt x="86" y="123"/>
                  </a:lnTo>
                  <a:cubicBezTo>
                    <a:pt x="122" y="123"/>
                    <a:pt x="157" y="124"/>
                    <a:pt x="193" y="124"/>
                  </a:cubicBezTo>
                  <a:cubicBezTo>
                    <a:pt x="220" y="124"/>
                    <a:pt x="248" y="124"/>
                    <a:pt x="275" y="122"/>
                  </a:cubicBezTo>
                  <a:lnTo>
                    <a:pt x="365" y="119"/>
                  </a:lnTo>
                  <a:cubicBezTo>
                    <a:pt x="383" y="119"/>
                    <a:pt x="401" y="117"/>
                    <a:pt x="418" y="113"/>
                  </a:cubicBezTo>
                  <a:cubicBezTo>
                    <a:pt x="430" y="110"/>
                    <a:pt x="433" y="105"/>
                    <a:pt x="442" y="104"/>
                  </a:cubicBezTo>
                  <a:cubicBezTo>
                    <a:pt x="452" y="103"/>
                    <a:pt x="458" y="101"/>
                    <a:pt x="467" y="99"/>
                  </a:cubicBezTo>
                  <a:cubicBezTo>
                    <a:pt x="503" y="93"/>
                    <a:pt x="503" y="33"/>
                    <a:pt x="467" y="25"/>
                  </a:cubicBezTo>
                  <a:cubicBezTo>
                    <a:pt x="458" y="23"/>
                    <a:pt x="450" y="21"/>
                    <a:pt x="442" y="20"/>
                  </a:cubicBezTo>
                  <a:cubicBezTo>
                    <a:pt x="436" y="19"/>
                    <a:pt x="430" y="17"/>
                    <a:pt x="424" y="14"/>
                  </a:cubicBezTo>
                  <a:cubicBezTo>
                    <a:pt x="408" y="8"/>
                    <a:pt x="392" y="6"/>
                    <a:pt x="375" y="6"/>
                  </a:cubicBezTo>
                  <a:cubicBezTo>
                    <a:pt x="372" y="6"/>
                    <a:pt x="369" y="6"/>
                    <a:pt x="365" y="6"/>
                  </a:cubicBezTo>
                  <a:lnTo>
                    <a:pt x="274" y="2"/>
                  </a:lnTo>
                  <a:cubicBezTo>
                    <a:pt x="243" y="1"/>
                    <a:pt x="211" y="1"/>
                    <a:pt x="18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7" name="Google Shape;167;p14"/>
            <p:cNvSpPr/>
            <p:nvPr/>
          </p:nvSpPr>
          <p:spPr>
            <a:xfrm>
              <a:off x="5394250" y="2848825"/>
              <a:ext cx="14175" cy="2750"/>
            </a:xfrm>
            <a:custGeom>
              <a:avLst/>
              <a:gdLst/>
              <a:ahLst/>
              <a:cxnLst/>
              <a:rect l="l" t="t" r="r" b="b"/>
              <a:pathLst>
                <a:path w="567" h="110" extrusionOk="0">
                  <a:moveTo>
                    <a:pt x="102" y="1"/>
                  </a:moveTo>
                  <a:cubicBezTo>
                    <a:pt x="92" y="1"/>
                    <a:pt x="82" y="1"/>
                    <a:pt x="72" y="2"/>
                  </a:cubicBezTo>
                  <a:cubicBezTo>
                    <a:pt x="1" y="2"/>
                    <a:pt x="1" y="108"/>
                    <a:pt x="72" y="108"/>
                  </a:cubicBezTo>
                  <a:cubicBezTo>
                    <a:pt x="84" y="108"/>
                    <a:pt x="97" y="109"/>
                    <a:pt x="110" y="109"/>
                  </a:cubicBezTo>
                  <a:cubicBezTo>
                    <a:pt x="116" y="109"/>
                    <a:pt x="122" y="109"/>
                    <a:pt x="129" y="108"/>
                  </a:cubicBezTo>
                  <a:cubicBezTo>
                    <a:pt x="146" y="107"/>
                    <a:pt x="168" y="104"/>
                    <a:pt x="188" y="104"/>
                  </a:cubicBezTo>
                  <a:lnTo>
                    <a:pt x="303" y="100"/>
                  </a:lnTo>
                  <a:cubicBezTo>
                    <a:pt x="379" y="98"/>
                    <a:pt x="459" y="100"/>
                    <a:pt x="534" y="87"/>
                  </a:cubicBezTo>
                  <a:cubicBezTo>
                    <a:pt x="566" y="82"/>
                    <a:pt x="566" y="28"/>
                    <a:pt x="534" y="23"/>
                  </a:cubicBezTo>
                  <a:cubicBezTo>
                    <a:pt x="459" y="10"/>
                    <a:pt x="379" y="12"/>
                    <a:pt x="303" y="10"/>
                  </a:cubicBezTo>
                  <a:lnTo>
                    <a:pt x="191" y="6"/>
                  </a:lnTo>
                  <a:cubicBezTo>
                    <a:pt x="171" y="6"/>
                    <a:pt x="151" y="4"/>
                    <a:pt x="132" y="2"/>
                  </a:cubicBezTo>
                  <a:cubicBezTo>
                    <a:pt x="122" y="1"/>
                    <a:pt x="112" y="1"/>
                    <a:pt x="102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68" name="Google Shape;168;p14"/>
            <p:cNvSpPr/>
            <p:nvPr/>
          </p:nvSpPr>
          <p:spPr>
            <a:xfrm>
              <a:off x="5178525" y="2618350"/>
              <a:ext cx="15000" cy="3650"/>
            </a:xfrm>
            <a:custGeom>
              <a:avLst/>
              <a:gdLst/>
              <a:ahLst/>
              <a:cxnLst/>
              <a:rect l="l" t="t" r="r" b="b"/>
              <a:pathLst>
                <a:path w="600" h="146" extrusionOk="0">
                  <a:moveTo>
                    <a:pt x="240" y="1"/>
                  </a:moveTo>
                  <a:cubicBezTo>
                    <a:pt x="222" y="1"/>
                    <a:pt x="204" y="1"/>
                    <a:pt x="186" y="3"/>
                  </a:cubicBezTo>
                  <a:cubicBezTo>
                    <a:pt x="137" y="3"/>
                    <a:pt x="90" y="9"/>
                    <a:pt x="44" y="24"/>
                  </a:cubicBezTo>
                  <a:cubicBezTo>
                    <a:pt x="17" y="31"/>
                    <a:pt x="0" y="57"/>
                    <a:pt x="4" y="84"/>
                  </a:cubicBezTo>
                  <a:cubicBezTo>
                    <a:pt x="8" y="111"/>
                    <a:pt x="31" y="132"/>
                    <a:pt x="58" y="132"/>
                  </a:cubicBezTo>
                  <a:cubicBezTo>
                    <a:pt x="69" y="133"/>
                    <a:pt x="79" y="134"/>
                    <a:pt x="89" y="134"/>
                  </a:cubicBezTo>
                  <a:cubicBezTo>
                    <a:pt x="100" y="134"/>
                    <a:pt x="110" y="133"/>
                    <a:pt x="121" y="132"/>
                  </a:cubicBezTo>
                  <a:cubicBezTo>
                    <a:pt x="142" y="131"/>
                    <a:pt x="163" y="130"/>
                    <a:pt x="183" y="130"/>
                  </a:cubicBezTo>
                  <a:cubicBezTo>
                    <a:pt x="195" y="130"/>
                    <a:pt x="208" y="130"/>
                    <a:pt x="221" y="130"/>
                  </a:cubicBezTo>
                  <a:cubicBezTo>
                    <a:pt x="251" y="130"/>
                    <a:pt x="281" y="131"/>
                    <a:pt x="311" y="131"/>
                  </a:cubicBezTo>
                  <a:cubicBezTo>
                    <a:pt x="355" y="133"/>
                    <a:pt x="395" y="137"/>
                    <a:pt x="436" y="141"/>
                  </a:cubicBezTo>
                  <a:cubicBezTo>
                    <a:pt x="459" y="143"/>
                    <a:pt x="485" y="145"/>
                    <a:pt x="510" y="145"/>
                  </a:cubicBezTo>
                  <a:cubicBezTo>
                    <a:pt x="529" y="145"/>
                    <a:pt x="547" y="144"/>
                    <a:pt x="564" y="140"/>
                  </a:cubicBezTo>
                  <a:cubicBezTo>
                    <a:pt x="591" y="132"/>
                    <a:pt x="599" y="100"/>
                    <a:pt x="580" y="81"/>
                  </a:cubicBezTo>
                  <a:cubicBezTo>
                    <a:pt x="548" y="51"/>
                    <a:pt x="497" y="35"/>
                    <a:pt x="455" y="25"/>
                  </a:cubicBezTo>
                  <a:cubicBezTo>
                    <a:pt x="408" y="14"/>
                    <a:pt x="362" y="7"/>
                    <a:pt x="315" y="4"/>
                  </a:cubicBezTo>
                  <a:cubicBezTo>
                    <a:pt x="289" y="2"/>
                    <a:pt x="265" y="1"/>
                    <a:pt x="240" y="1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  <p:grpSp>
        <p:nvGrpSpPr>
          <p:cNvPr id="169" name="Google Shape;169;p14"/>
          <p:cNvGrpSpPr/>
          <p:nvPr/>
        </p:nvGrpSpPr>
        <p:grpSpPr>
          <a:xfrm flipH="1">
            <a:off x="8093941" y="5917719"/>
            <a:ext cx="4251604" cy="1156044"/>
            <a:chOff x="1296625" y="5272425"/>
            <a:chExt cx="751450" cy="204325"/>
          </a:xfrm>
        </p:grpSpPr>
        <p:sp>
          <p:nvSpPr>
            <p:cNvPr id="170" name="Google Shape;170;p14"/>
            <p:cNvSpPr/>
            <p:nvPr/>
          </p:nvSpPr>
          <p:spPr>
            <a:xfrm>
              <a:off x="1296625" y="5272425"/>
              <a:ext cx="751450" cy="204325"/>
            </a:xfrm>
            <a:custGeom>
              <a:avLst/>
              <a:gdLst/>
              <a:ahLst/>
              <a:cxnLst/>
              <a:rect l="l" t="t" r="r" b="b"/>
              <a:pathLst>
                <a:path w="30058" h="8173" extrusionOk="0">
                  <a:moveTo>
                    <a:pt x="1831" y="0"/>
                  </a:moveTo>
                  <a:cubicBezTo>
                    <a:pt x="1359" y="0"/>
                    <a:pt x="921" y="261"/>
                    <a:pt x="576" y="977"/>
                  </a:cubicBezTo>
                  <a:cubicBezTo>
                    <a:pt x="0" y="2170"/>
                    <a:pt x="458" y="4179"/>
                    <a:pt x="1209" y="5205"/>
                  </a:cubicBezTo>
                  <a:cubicBezTo>
                    <a:pt x="2352" y="6765"/>
                    <a:pt x="4549" y="7016"/>
                    <a:pt x="6482" y="7078"/>
                  </a:cubicBezTo>
                  <a:cubicBezTo>
                    <a:pt x="12255" y="7267"/>
                    <a:pt x="18061" y="6994"/>
                    <a:pt x="23788" y="7750"/>
                  </a:cubicBezTo>
                  <a:cubicBezTo>
                    <a:pt x="25169" y="7932"/>
                    <a:pt x="26573" y="8173"/>
                    <a:pt x="27959" y="8173"/>
                  </a:cubicBezTo>
                  <a:cubicBezTo>
                    <a:pt x="28665" y="8173"/>
                    <a:pt x="29367" y="8110"/>
                    <a:pt x="30058" y="7945"/>
                  </a:cubicBezTo>
                  <a:cubicBezTo>
                    <a:pt x="26482" y="6211"/>
                    <a:pt x="22600" y="5194"/>
                    <a:pt x="18632" y="4954"/>
                  </a:cubicBezTo>
                  <a:cubicBezTo>
                    <a:pt x="16764" y="4841"/>
                    <a:pt x="14885" y="4902"/>
                    <a:pt x="13025" y="4685"/>
                  </a:cubicBezTo>
                  <a:cubicBezTo>
                    <a:pt x="9662" y="4293"/>
                    <a:pt x="6423" y="2958"/>
                    <a:pt x="3732" y="908"/>
                  </a:cubicBezTo>
                  <a:cubicBezTo>
                    <a:pt x="3126" y="447"/>
                    <a:pt x="2449" y="0"/>
                    <a:pt x="1831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71" name="Google Shape;171;p14"/>
            <p:cNvSpPr/>
            <p:nvPr/>
          </p:nvSpPr>
          <p:spPr>
            <a:xfrm>
              <a:off x="1429850" y="5340900"/>
              <a:ext cx="17250" cy="14500"/>
            </a:xfrm>
            <a:custGeom>
              <a:avLst/>
              <a:gdLst/>
              <a:ahLst/>
              <a:cxnLst/>
              <a:rect l="l" t="t" r="r" b="b"/>
              <a:pathLst>
                <a:path w="690" h="580" extrusionOk="0">
                  <a:moveTo>
                    <a:pt x="217" y="194"/>
                  </a:moveTo>
                  <a:cubicBezTo>
                    <a:pt x="217" y="194"/>
                    <a:pt x="218" y="195"/>
                    <a:pt x="219" y="196"/>
                  </a:cubicBezTo>
                  <a:lnTo>
                    <a:pt x="219" y="196"/>
                  </a:lnTo>
                  <a:lnTo>
                    <a:pt x="218" y="196"/>
                  </a:lnTo>
                  <a:cubicBezTo>
                    <a:pt x="217" y="194"/>
                    <a:pt x="217" y="194"/>
                    <a:pt x="217" y="194"/>
                  </a:cubicBezTo>
                  <a:close/>
                  <a:moveTo>
                    <a:pt x="364" y="341"/>
                  </a:moveTo>
                  <a:cubicBezTo>
                    <a:pt x="365" y="342"/>
                    <a:pt x="365" y="342"/>
                    <a:pt x="366" y="342"/>
                  </a:cubicBezTo>
                  <a:lnTo>
                    <a:pt x="364" y="341"/>
                  </a:lnTo>
                  <a:close/>
                  <a:moveTo>
                    <a:pt x="68" y="0"/>
                  </a:moveTo>
                  <a:cubicBezTo>
                    <a:pt x="56" y="0"/>
                    <a:pt x="46" y="3"/>
                    <a:pt x="37" y="8"/>
                  </a:cubicBezTo>
                  <a:cubicBezTo>
                    <a:pt x="6" y="28"/>
                    <a:pt x="1" y="61"/>
                    <a:pt x="15" y="94"/>
                  </a:cubicBezTo>
                  <a:cubicBezTo>
                    <a:pt x="59" y="194"/>
                    <a:pt x="122" y="285"/>
                    <a:pt x="199" y="363"/>
                  </a:cubicBezTo>
                  <a:cubicBezTo>
                    <a:pt x="239" y="403"/>
                    <a:pt x="282" y="438"/>
                    <a:pt x="328" y="471"/>
                  </a:cubicBezTo>
                  <a:cubicBezTo>
                    <a:pt x="374" y="503"/>
                    <a:pt x="425" y="528"/>
                    <a:pt x="478" y="545"/>
                  </a:cubicBezTo>
                  <a:cubicBezTo>
                    <a:pt x="506" y="554"/>
                    <a:pt x="534" y="563"/>
                    <a:pt x="563" y="569"/>
                  </a:cubicBezTo>
                  <a:cubicBezTo>
                    <a:pt x="585" y="576"/>
                    <a:pt x="608" y="579"/>
                    <a:pt x="631" y="579"/>
                  </a:cubicBezTo>
                  <a:cubicBezTo>
                    <a:pt x="641" y="579"/>
                    <a:pt x="650" y="579"/>
                    <a:pt x="660" y="578"/>
                  </a:cubicBezTo>
                  <a:cubicBezTo>
                    <a:pt x="689" y="573"/>
                    <a:pt x="686" y="535"/>
                    <a:pt x="667" y="522"/>
                  </a:cubicBezTo>
                  <a:cubicBezTo>
                    <a:pt x="647" y="508"/>
                    <a:pt x="625" y="497"/>
                    <a:pt x="602" y="489"/>
                  </a:cubicBezTo>
                  <a:cubicBezTo>
                    <a:pt x="579" y="479"/>
                    <a:pt x="557" y="468"/>
                    <a:pt x="534" y="455"/>
                  </a:cubicBezTo>
                  <a:cubicBezTo>
                    <a:pt x="491" y="431"/>
                    <a:pt x="450" y="400"/>
                    <a:pt x="408" y="373"/>
                  </a:cubicBezTo>
                  <a:cubicBezTo>
                    <a:pt x="397" y="367"/>
                    <a:pt x="388" y="359"/>
                    <a:pt x="377" y="352"/>
                  </a:cubicBezTo>
                  <a:lnTo>
                    <a:pt x="365" y="341"/>
                  </a:lnTo>
                  <a:cubicBezTo>
                    <a:pt x="364" y="341"/>
                    <a:pt x="363" y="340"/>
                    <a:pt x="363" y="340"/>
                  </a:cubicBezTo>
                  <a:lnTo>
                    <a:pt x="363" y="340"/>
                  </a:lnTo>
                  <a:lnTo>
                    <a:pt x="356" y="335"/>
                  </a:lnTo>
                  <a:cubicBezTo>
                    <a:pt x="336" y="319"/>
                    <a:pt x="317" y="302"/>
                    <a:pt x="299" y="284"/>
                  </a:cubicBezTo>
                  <a:cubicBezTo>
                    <a:pt x="281" y="268"/>
                    <a:pt x="263" y="249"/>
                    <a:pt x="247" y="230"/>
                  </a:cubicBezTo>
                  <a:cubicBezTo>
                    <a:pt x="238" y="221"/>
                    <a:pt x="231" y="212"/>
                    <a:pt x="223" y="201"/>
                  </a:cubicBezTo>
                  <a:lnTo>
                    <a:pt x="219" y="197"/>
                  </a:lnTo>
                  <a:cubicBezTo>
                    <a:pt x="214" y="190"/>
                    <a:pt x="211" y="185"/>
                    <a:pt x="206" y="179"/>
                  </a:cubicBezTo>
                  <a:cubicBezTo>
                    <a:pt x="173" y="133"/>
                    <a:pt x="144" y="83"/>
                    <a:pt x="121" y="30"/>
                  </a:cubicBezTo>
                  <a:cubicBezTo>
                    <a:pt x="113" y="11"/>
                    <a:pt x="90" y="0"/>
                    <a:pt x="68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  <p:sp>
          <p:nvSpPr>
            <p:cNvPr id="172" name="Google Shape;172;p14"/>
            <p:cNvSpPr/>
            <p:nvPr/>
          </p:nvSpPr>
          <p:spPr>
            <a:xfrm>
              <a:off x="1436300" y="5366700"/>
              <a:ext cx="19050" cy="9500"/>
            </a:xfrm>
            <a:custGeom>
              <a:avLst/>
              <a:gdLst/>
              <a:ahLst/>
              <a:cxnLst/>
              <a:rect l="l" t="t" r="r" b="b"/>
              <a:pathLst>
                <a:path w="762" h="380" extrusionOk="0">
                  <a:moveTo>
                    <a:pt x="556" y="240"/>
                  </a:moveTo>
                  <a:lnTo>
                    <a:pt x="556" y="240"/>
                  </a:lnTo>
                  <a:cubicBezTo>
                    <a:pt x="558" y="240"/>
                    <a:pt x="560" y="240"/>
                    <a:pt x="562" y="240"/>
                  </a:cubicBezTo>
                  <a:cubicBezTo>
                    <a:pt x="562" y="240"/>
                    <a:pt x="558" y="240"/>
                    <a:pt x="556" y="240"/>
                  </a:cubicBezTo>
                  <a:close/>
                  <a:moveTo>
                    <a:pt x="65" y="0"/>
                  </a:moveTo>
                  <a:cubicBezTo>
                    <a:pt x="50" y="0"/>
                    <a:pt x="35" y="6"/>
                    <a:pt x="23" y="18"/>
                  </a:cubicBezTo>
                  <a:cubicBezTo>
                    <a:pt x="0" y="41"/>
                    <a:pt x="0" y="78"/>
                    <a:pt x="23" y="102"/>
                  </a:cubicBezTo>
                  <a:cubicBezTo>
                    <a:pt x="169" y="252"/>
                    <a:pt x="361" y="348"/>
                    <a:pt x="567" y="375"/>
                  </a:cubicBezTo>
                  <a:cubicBezTo>
                    <a:pt x="584" y="378"/>
                    <a:pt x="600" y="380"/>
                    <a:pt x="617" y="380"/>
                  </a:cubicBezTo>
                  <a:cubicBezTo>
                    <a:pt x="656" y="380"/>
                    <a:pt x="695" y="372"/>
                    <a:pt x="731" y="356"/>
                  </a:cubicBezTo>
                  <a:cubicBezTo>
                    <a:pt x="749" y="350"/>
                    <a:pt x="760" y="333"/>
                    <a:pt x="761" y="313"/>
                  </a:cubicBezTo>
                  <a:cubicBezTo>
                    <a:pt x="761" y="290"/>
                    <a:pt x="742" y="275"/>
                    <a:pt x="722" y="269"/>
                  </a:cubicBezTo>
                  <a:cubicBezTo>
                    <a:pt x="700" y="261"/>
                    <a:pt x="677" y="255"/>
                    <a:pt x="653" y="252"/>
                  </a:cubicBezTo>
                  <a:cubicBezTo>
                    <a:pt x="638" y="249"/>
                    <a:pt x="622" y="248"/>
                    <a:pt x="607" y="246"/>
                  </a:cubicBezTo>
                  <a:cubicBezTo>
                    <a:pt x="603" y="246"/>
                    <a:pt x="600" y="245"/>
                    <a:pt x="597" y="245"/>
                  </a:cubicBezTo>
                  <a:cubicBezTo>
                    <a:pt x="598" y="245"/>
                    <a:pt x="599" y="245"/>
                    <a:pt x="600" y="245"/>
                  </a:cubicBezTo>
                  <a:lnTo>
                    <a:pt x="600" y="245"/>
                  </a:lnTo>
                  <a:cubicBezTo>
                    <a:pt x="599" y="245"/>
                    <a:pt x="597" y="245"/>
                    <a:pt x="595" y="245"/>
                  </a:cubicBezTo>
                  <a:cubicBezTo>
                    <a:pt x="586" y="243"/>
                    <a:pt x="577" y="242"/>
                    <a:pt x="568" y="241"/>
                  </a:cubicBezTo>
                  <a:lnTo>
                    <a:pt x="560" y="240"/>
                  </a:lnTo>
                  <a:cubicBezTo>
                    <a:pt x="556" y="240"/>
                    <a:pt x="554" y="240"/>
                    <a:pt x="555" y="240"/>
                  </a:cubicBezTo>
                  <a:cubicBezTo>
                    <a:pt x="555" y="240"/>
                    <a:pt x="555" y="240"/>
                    <a:pt x="556" y="240"/>
                  </a:cubicBezTo>
                  <a:lnTo>
                    <a:pt x="556" y="240"/>
                  </a:lnTo>
                  <a:cubicBezTo>
                    <a:pt x="553" y="240"/>
                    <a:pt x="550" y="239"/>
                    <a:pt x="546" y="238"/>
                  </a:cubicBezTo>
                  <a:cubicBezTo>
                    <a:pt x="534" y="236"/>
                    <a:pt x="520" y="234"/>
                    <a:pt x="508" y="231"/>
                  </a:cubicBezTo>
                  <a:cubicBezTo>
                    <a:pt x="460" y="220"/>
                    <a:pt x="412" y="207"/>
                    <a:pt x="367" y="189"/>
                  </a:cubicBezTo>
                  <a:lnTo>
                    <a:pt x="358" y="184"/>
                  </a:lnTo>
                  <a:lnTo>
                    <a:pt x="339" y="176"/>
                  </a:lnTo>
                  <a:cubicBezTo>
                    <a:pt x="325" y="171"/>
                    <a:pt x="313" y="164"/>
                    <a:pt x="301" y="158"/>
                  </a:cubicBezTo>
                  <a:cubicBezTo>
                    <a:pt x="276" y="145"/>
                    <a:pt x="253" y="132"/>
                    <a:pt x="230" y="117"/>
                  </a:cubicBezTo>
                  <a:cubicBezTo>
                    <a:pt x="218" y="110"/>
                    <a:pt x="207" y="101"/>
                    <a:pt x="195" y="93"/>
                  </a:cubicBezTo>
                  <a:lnTo>
                    <a:pt x="178" y="81"/>
                  </a:lnTo>
                  <a:lnTo>
                    <a:pt x="176" y="79"/>
                  </a:lnTo>
                  <a:lnTo>
                    <a:pt x="170" y="74"/>
                  </a:lnTo>
                  <a:cubicBezTo>
                    <a:pt x="148" y="57"/>
                    <a:pt x="127" y="38"/>
                    <a:pt x="107" y="18"/>
                  </a:cubicBezTo>
                  <a:cubicBezTo>
                    <a:pt x="95" y="6"/>
                    <a:pt x="80" y="0"/>
                    <a:pt x="65" y="0"/>
                  </a:cubicBez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1867"/>
            </a:p>
          </p:txBody>
        </p:sp>
      </p:grpSp>
    </p:spTree>
    <p:extLst>
      <p:ext uri="{BB962C8B-B14F-4D97-AF65-F5344CB8AC3E}">
        <p14:creationId xmlns:p14="http://schemas.microsoft.com/office/powerpoint/2010/main" val="1934916602"/>
      </p:ext>
    </p:extLst>
  </p:cSld>
  <p:clrMapOvr>
    <a:masterClrMapping/>
  </p:clrMapOvr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oogle Shape;9;p2"/>
          <p:cNvGrpSpPr/>
          <p:nvPr/>
        </p:nvGrpSpPr>
        <p:grpSpPr>
          <a:xfrm>
            <a:off x="-448220" y="-1505921"/>
            <a:ext cx="14664592" cy="9637369"/>
            <a:chOff x="-336165" y="-1129441"/>
            <a:chExt cx="10998444" cy="7228027"/>
          </a:xfrm>
        </p:grpSpPr>
        <p:sp>
          <p:nvSpPr>
            <p:cNvPr id="10" name="Google Shape;10;p2"/>
            <p:cNvSpPr/>
            <p:nvPr/>
          </p:nvSpPr>
          <p:spPr>
            <a:xfrm rot="1100666">
              <a:off x="8163316" y="-849109"/>
              <a:ext cx="2172768" cy="2423699"/>
            </a:xfrm>
            <a:custGeom>
              <a:avLst/>
              <a:gdLst/>
              <a:ahLst/>
              <a:cxnLst/>
              <a:rect l="l" t="t" r="r" b="b"/>
              <a:pathLst>
                <a:path w="2170896" h="2421611" extrusionOk="0">
                  <a:moveTo>
                    <a:pt x="227233" y="412741"/>
                  </a:moveTo>
                  <a:cubicBezTo>
                    <a:pt x="145295" y="572728"/>
                    <a:pt x="-41414" y="833548"/>
                    <a:pt x="8286" y="1060757"/>
                  </a:cubicBezTo>
                  <a:cubicBezTo>
                    <a:pt x="60672" y="1293343"/>
                    <a:pt x="327976" y="1302754"/>
                    <a:pt x="440807" y="1433164"/>
                  </a:cubicBezTo>
                  <a:cubicBezTo>
                    <a:pt x="538864" y="1547441"/>
                    <a:pt x="540207" y="1712806"/>
                    <a:pt x="623488" y="1862038"/>
                  </a:cubicBezTo>
                  <a:cubicBezTo>
                    <a:pt x="804825" y="2184702"/>
                    <a:pt x="1163470" y="2393089"/>
                    <a:pt x="1449579" y="2419977"/>
                  </a:cubicBezTo>
                  <a:cubicBezTo>
                    <a:pt x="1649721" y="2438800"/>
                    <a:pt x="1825685" y="2289568"/>
                    <a:pt x="2024484" y="2254612"/>
                  </a:cubicBezTo>
                  <a:cubicBezTo>
                    <a:pt x="2064781" y="2247890"/>
                    <a:pt x="2115824" y="2238479"/>
                    <a:pt x="2170897" y="2229068"/>
                  </a:cubicBezTo>
                  <a:lnTo>
                    <a:pt x="2170897" y="0"/>
                  </a:lnTo>
                  <a:lnTo>
                    <a:pt x="384392" y="0"/>
                  </a:lnTo>
                  <a:cubicBezTo>
                    <a:pt x="353497" y="139821"/>
                    <a:pt x="297082" y="275609"/>
                    <a:pt x="227233" y="41274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" name="Google Shape;11;p2"/>
            <p:cNvSpPr/>
            <p:nvPr/>
          </p:nvSpPr>
          <p:spPr>
            <a:xfrm rot="-508449">
              <a:off x="1228367" y="4519094"/>
              <a:ext cx="5153401" cy="1206366"/>
            </a:xfrm>
            <a:custGeom>
              <a:avLst/>
              <a:gdLst/>
              <a:ahLst/>
              <a:cxnLst/>
              <a:rect l="l" t="t" r="r" b="b"/>
              <a:pathLst>
                <a:path w="5148625" h="1205248" extrusionOk="0">
                  <a:moveTo>
                    <a:pt x="196112" y="1038539"/>
                  </a:moveTo>
                  <a:cubicBezTo>
                    <a:pt x="128951" y="1065428"/>
                    <a:pt x="63132" y="1128616"/>
                    <a:pt x="0" y="1205249"/>
                  </a:cubicBezTo>
                  <a:lnTo>
                    <a:pt x="5148626" y="1205249"/>
                  </a:lnTo>
                  <a:cubicBezTo>
                    <a:pt x="5084151" y="1109794"/>
                    <a:pt x="5018333" y="1018373"/>
                    <a:pt x="4959230" y="939051"/>
                  </a:cubicBezTo>
                  <a:cubicBezTo>
                    <a:pt x="4842368" y="785786"/>
                    <a:pt x="4614018" y="624454"/>
                    <a:pt x="4393727" y="581432"/>
                  </a:cubicBezTo>
                  <a:cubicBezTo>
                    <a:pt x="4045829" y="514211"/>
                    <a:pt x="3790614" y="745453"/>
                    <a:pt x="3477640" y="784442"/>
                  </a:cubicBezTo>
                  <a:cubicBezTo>
                    <a:pt x="3194217" y="819397"/>
                    <a:pt x="2976612" y="566644"/>
                    <a:pt x="2764381" y="436234"/>
                  </a:cubicBezTo>
                  <a:cubicBezTo>
                    <a:pt x="2510510" y="281624"/>
                    <a:pt x="2244548" y="125670"/>
                    <a:pt x="1940977" y="42315"/>
                  </a:cubicBezTo>
                  <a:cubicBezTo>
                    <a:pt x="1473531" y="-86750"/>
                    <a:pt x="910715" y="85337"/>
                    <a:pt x="711915" y="477911"/>
                  </a:cubicBezTo>
                  <a:cubicBezTo>
                    <a:pt x="624605" y="648654"/>
                    <a:pt x="750869" y="948462"/>
                    <a:pt x="463417" y="1035850"/>
                  </a:cubicBezTo>
                  <a:cubicBezTo>
                    <a:pt x="382822" y="1061395"/>
                    <a:pt x="282080" y="1003584"/>
                    <a:pt x="196112" y="103853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2" name="Google Shape;12;p2"/>
            <p:cNvSpPr/>
            <p:nvPr/>
          </p:nvSpPr>
          <p:spPr>
            <a:xfrm>
              <a:off x="-336165" y="-372774"/>
              <a:ext cx="3230757" cy="1138290"/>
            </a:xfrm>
            <a:custGeom>
              <a:avLst/>
              <a:gdLst/>
              <a:ahLst/>
              <a:cxnLst/>
              <a:rect l="l" t="t" r="r" b="b"/>
              <a:pathLst>
                <a:path w="3230757" h="1138290" extrusionOk="0">
                  <a:moveTo>
                    <a:pt x="1065187" y="826826"/>
                  </a:moveTo>
                  <a:cubicBezTo>
                    <a:pt x="1375474" y="920936"/>
                    <a:pt x="1661584" y="990846"/>
                    <a:pt x="2008139" y="994880"/>
                  </a:cubicBezTo>
                  <a:cubicBezTo>
                    <a:pt x="2307681" y="998913"/>
                    <a:pt x="3324511" y="922280"/>
                    <a:pt x="3223768" y="559284"/>
                  </a:cubicBezTo>
                  <a:cubicBezTo>
                    <a:pt x="3164666" y="348208"/>
                    <a:pt x="2619312" y="353586"/>
                    <a:pt x="2521255" y="151921"/>
                  </a:cubicBezTo>
                  <a:cubicBezTo>
                    <a:pt x="2494391" y="95455"/>
                    <a:pt x="2503793" y="45711"/>
                    <a:pt x="2537374" y="0"/>
                  </a:cubicBezTo>
                  <a:lnTo>
                    <a:pt x="0" y="0"/>
                  </a:lnTo>
                  <a:lnTo>
                    <a:pt x="0" y="1105123"/>
                  </a:lnTo>
                  <a:cubicBezTo>
                    <a:pt x="436552" y="1187133"/>
                    <a:pt x="844896" y="1125289"/>
                    <a:pt x="1065187" y="8268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3" name="Google Shape;13;p2"/>
          <p:cNvGrpSpPr/>
          <p:nvPr/>
        </p:nvGrpSpPr>
        <p:grpSpPr>
          <a:xfrm>
            <a:off x="-1546634" y="-1643441"/>
            <a:ext cx="15187803" cy="10070140"/>
            <a:chOff x="-1159975" y="-1232581"/>
            <a:chExt cx="11390852" cy="7552605"/>
          </a:xfrm>
        </p:grpSpPr>
        <p:grpSp>
          <p:nvGrpSpPr>
            <p:cNvPr id="14" name="Google Shape;14;p2"/>
            <p:cNvGrpSpPr/>
            <p:nvPr/>
          </p:nvGrpSpPr>
          <p:grpSpPr>
            <a:xfrm>
              <a:off x="-1159975" y="2399674"/>
              <a:ext cx="11390852" cy="2804379"/>
              <a:chOff x="-1159975" y="2399674"/>
              <a:chExt cx="11390852" cy="2804379"/>
            </a:xfrm>
          </p:grpSpPr>
          <p:sp>
            <p:nvSpPr>
              <p:cNvPr id="15" name="Google Shape;15;p2"/>
              <p:cNvSpPr/>
              <p:nvPr/>
            </p:nvSpPr>
            <p:spPr>
              <a:xfrm>
                <a:off x="-1159975" y="2399674"/>
                <a:ext cx="1672252" cy="1677361"/>
              </a:xfrm>
              <a:custGeom>
                <a:avLst/>
                <a:gdLst/>
                <a:ahLst/>
                <a:cxnLst/>
                <a:rect l="l" t="t" r="r" b="b"/>
                <a:pathLst>
                  <a:path w="2414805" h="2422182" extrusionOk="0">
                    <a:moveTo>
                      <a:pt x="1352508" y="39350"/>
                    </a:moveTo>
                    <a:cubicBezTo>
                      <a:pt x="1571455" y="-29216"/>
                      <a:pt x="1828014" y="-13083"/>
                      <a:pt x="2010694" y="126738"/>
                    </a:cubicBezTo>
                    <a:cubicBezTo>
                      <a:pt x="2072483" y="173793"/>
                      <a:pt x="2126212" y="235637"/>
                      <a:pt x="2145017" y="310925"/>
                    </a:cubicBezTo>
                    <a:cubicBezTo>
                      <a:pt x="2181285" y="461501"/>
                      <a:pt x="2068453" y="609389"/>
                      <a:pt x="1939502" y="695432"/>
                    </a:cubicBezTo>
                    <a:cubicBezTo>
                      <a:pt x="1810551" y="781476"/>
                      <a:pt x="1657422" y="832565"/>
                      <a:pt x="1543247" y="936086"/>
                    </a:cubicBezTo>
                    <a:cubicBezTo>
                      <a:pt x="1508323" y="967008"/>
                      <a:pt x="1477429" y="1004652"/>
                      <a:pt x="1463996" y="1050363"/>
                    </a:cubicBezTo>
                    <a:cubicBezTo>
                      <a:pt x="1433102" y="1160606"/>
                      <a:pt x="1524442" y="1270849"/>
                      <a:pt x="1627871" y="1317904"/>
                    </a:cubicBezTo>
                    <a:cubicBezTo>
                      <a:pt x="1731301" y="1364960"/>
                      <a:pt x="1849505" y="1373026"/>
                      <a:pt x="1955621" y="1413359"/>
                    </a:cubicBezTo>
                    <a:cubicBezTo>
                      <a:pt x="2130242" y="1479236"/>
                      <a:pt x="2261879" y="1627124"/>
                      <a:pt x="2349189" y="1792489"/>
                    </a:cubicBezTo>
                    <a:cubicBezTo>
                      <a:pt x="2406948" y="1902732"/>
                      <a:pt x="2445902" y="2041209"/>
                      <a:pt x="2381427" y="2147419"/>
                    </a:cubicBezTo>
                    <a:cubicBezTo>
                      <a:pt x="2339787" y="2215985"/>
                      <a:pt x="2261879" y="2254973"/>
                      <a:pt x="2185314" y="2277829"/>
                    </a:cubicBezTo>
                    <a:cubicBezTo>
                      <a:pt x="1819954" y="2386728"/>
                      <a:pt x="1418326" y="2205229"/>
                      <a:pt x="1160425" y="1925588"/>
                    </a:cubicBezTo>
                    <a:cubicBezTo>
                      <a:pt x="1136247" y="1898699"/>
                      <a:pt x="1110725" y="1870466"/>
                      <a:pt x="1077144" y="1855677"/>
                    </a:cubicBezTo>
                    <a:cubicBezTo>
                      <a:pt x="1043563" y="1840889"/>
                      <a:pt x="999236" y="1844922"/>
                      <a:pt x="977745" y="1874499"/>
                    </a:cubicBezTo>
                    <a:cubicBezTo>
                      <a:pt x="968342" y="1889288"/>
                      <a:pt x="964312" y="1906766"/>
                      <a:pt x="961626" y="1922899"/>
                    </a:cubicBezTo>
                    <a:cubicBezTo>
                      <a:pt x="926702" y="2108430"/>
                      <a:pt x="854167" y="2312784"/>
                      <a:pt x="680889" y="2390761"/>
                    </a:cubicBezTo>
                    <a:cubicBezTo>
                      <a:pt x="561341" y="2444538"/>
                      <a:pt x="421645" y="2423027"/>
                      <a:pt x="300753" y="2373284"/>
                    </a:cubicBezTo>
                    <a:cubicBezTo>
                      <a:pt x="182548" y="2323540"/>
                      <a:pt x="69717" y="2241529"/>
                      <a:pt x="24047" y="2121875"/>
                    </a:cubicBezTo>
                    <a:cubicBezTo>
                      <a:pt x="-32369" y="1975332"/>
                      <a:pt x="21360" y="1812655"/>
                      <a:pt x="73746" y="1666112"/>
                    </a:cubicBezTo>
                    <a:cubicBezTo>
                      <a:pt x="178519" y="1375715"/>
                      <a:pt x="283291" y="1085318"/>
                      <a:pt x="389407" y="793576"/>
                    </a:cubicBezTo>
                    <a:cubicBezTo>
                      <a:pt x="427018" y="690055"/>
                      <a:pt x="475374" y="575778"/>
                      <a:pt x="565371" y="507212"/>
                    </a:cubicBezTo>
                    <a:cubicBezTo>
                      <a:pt x="625817" y="461501"/>
                      <a:pt x="702381" y="446713"/>
                      <a:pt x="765513" y="406380"/>
                    </a:cubicBezTo>
                    <a:cubicBezTo>
                      <a:pt x="965655" y="277314"/>
                      <a:pt x="1116098" y="111949"/>
                      <a:pt x="1352508" y="3935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16" name="Google Shape;16;p2"/>
              <p:cNvGrpSpPr/>
              <p:nvPr/>
            </p:nvGrpSpPr>
            <p:grpSpPr>
              <a:xfrm>
                <a:off x="8268516" y="3472706"/>
                <a:ext cx="1962362" cy="1731348"/>
                <a:chOff x="6730953" y="3918493"/>
                <a:chExt cx="1962362" cy="1731348"/>
              </a:xfrm>
            </p:grpSpPr>
            <p:sp>
              <p:nvSpPr>
                <p:cNvPr id="17" name="Google Shape;17;p2"/>
                <p:cNvSpPr/>
                <p:nvPr/>
              </p:nvSpPr>
              <p:spPr>
                <a:xfrm>
                  <a:off x="7606240" y="3993966"/>
                  <a:ext cx="989494" cy="7335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9494" h="733535" extrusionOk="0">
                      <a:moveTo>
                        <a:pt x="248676" y="549786"/>
                      </a:moveTo>
                      <a:cubicBezTo>
                        <a:pt x="374940" y="588774"/>
                        <a:pt x="481056" y="704395"/>
                        <a:pt x="607321" y="729940"/>
                      </a:cubicBezTo>
                      <a:cubicBezTo>
                        <a:pt x="694631" y="747417"/>
                        <a:pt x="784628" y="699018"/>
                        <a:pt x="842387" y="631796"/>
                      </a:cubicBezTo>
                      <a:cubicBezTo>
                        <a:pt x="898803" y="565919"/>
                        <a:pt x="1010291" y="376354"/>
                        <a:pt x="986113" y="284933"/>
                      </a:cubicBezTo>
                      <a:cubicBezTo>
                        <a:pt x="957905" y="182756"/>
                        <a:pt x="832985" y="178723"/>
                        <a:pt x="745674" y="130323"/>
                      </a:cubicBezTo>
                      <a:cubicBezTo>
                        <a:pt x="585829" y="42935"/>
                        <a:pt x="459564" y="-39076"/>
                        <a:pt x="267481" y="20080"/>
                      </a:cubicBezTo>
                      <a:cubicBezTo>
                        <a:pt x="119725" y="65790"/>
                        <a:pt x="-15941" y="198889"/>
                        <a:pt x="1521" y="365598"/>
                      </a:cubicBezTo>
                      <a:cubicBezTo>
                        <a:pt x="16296" y="526930"/>
                        <a:pt x="121069" y="509453"/>
                        <a:pt x="248676" y="54978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" name="Google Shape;18;p2"/>
                <p:cNvSpPr/>
                <p:nvPr/>
              </p:nvSpPr>
              <p:spPr>
                <a:xfrm>
                  <a:off x="7374821" y="4790720"/>
                  <a:ext cx="983997" cy="8591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997" h="859121" extrusionOk="0">
                      <a:moveTo>
                        <a:pt x="664119" y="406"/>
                      </a:moveTo>
                      <a:cubicBezTo>
                        <a:pt x="462633" y="-7660"/>
                        <a:pt x="261148" y="105272"/>
                        <a:pt x="133540" y="255849"/>
                      </a:cubicBezTo>
                      <a:cubicBezTo>
                        <a:pt x="23395" y="384914"/>
                        <a:pt x="-54513" y="574479"/>
                        <a:pt x="47573" y="730433"/>
                      </a:cubicBezTo>
                      <a:cubicBezTo>
                        <a:pt x="232940" y="1016797"/>
                        <a:pt x="502931" y="751944"/>
                        <a:pt x="696357" y="639012"/>
                      </a:cubicBezTo>
                      <a:cubicBezTo>
                        <a:pt x="748743" y="609434"/>
                        <a:pt x="805159" y="586579"/>
                        <a:pt x="853515" y="550279"/>
                      </a:cubicBezTo>
                      <a:cubicBezTo>
                        <a:pt x="1108730" y="356681"/>
                        <a:pt x="959631" y="11162"/>
                        <a:pt x="664119" y="4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9" name="Google Shape;19;p2"/>
                <p:cNvSpPr/>
                <p:nvPr/>
              </p:nvSpPr>
              <p:spPr>
                <a:xfrm>
                  <a:off x="6866202" y="4524993"/>
                  <a:ext cx="679468" cy="5896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9468" h="589657" extrusionOk="0">
                      <a:moveTo>
                        <a:pt x="515895" y="353522"/>
                      </a:moveTo>
                      <a:cubicBezTo>
                        <a:pt x="549476" y="319911"/>
                        <a:pt x="612608" y="346800"/>
                        <a:pt x="647532" y="309156"/>
                      </a:cubicBezTo>
                      <a:cubicBezTo>
                        <a:pt x="694546" y="259412"/>
                        <a:pt x="683800" y="169335"/>
                        <a:pt x="652905" y="112869"/>
                      </a:cubicBezTo>
                      <a:cubicBezTo>
                        <a:pt x="592460" y="1281"/>
                        <a:pt x="294261" y="-52497"/>
                        <a:pt x="241875" y="69847"/>
                      </a:cubicBezTo>
                      <a:cubicBezTo>
                        <a:pt x="65911" y="124969"/>
                        <a:pt x="-38862" y="213701"/>
                        <a:pt x="13524" y="349489"/>
                      </a:cubicBezTo>
                      <a:cubicBezTo>
                        <a:pt x="83373" y="525609"/>
                        <a:pt x="419182" y="728618"/>
                        <a:pt x="497090" y="458388"/>
                      </a:cubicBezTo>
                      <a:cubicBezTo>
                        <a:pt x="509179" y="418055"/>
                        <a:pt x="482314" y="385788"/>
                        <a:pt x="515895" y="353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0" name="Google Shape;20;p2"/>
                <p:cNvSpPr/>
                <p:nvPr/>
              </p:nvSpPr>
              <p:spPr>
                <a:xfrm>
                  <a:off x="7018173" y="3918493"/>
                  <a:ext cx="450521" cy="4681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521" h="468166" extrusionOk="0">
                      <a:moveTo>
                        <a:pt x="134230" y="450483"/>
                      </a:moveTo>
                      <a:cubicBezTo>
                        <a:pt x="221541" y="486782"/>
                        <a:pt x="343775" y="466616"/>
                        <a:pt x="409594" y="395361"/>
                      </a:cubicBezTo>
                      <a:cubicBezTo>
                        <a:pt x="506307" y="291839"/>
                        <a:pt x="418996" y="48498"/>
                        <a:pt x="279300" y="8165"/>
                      </a:cubicBezTo>
                      <a:cubicBezTo>
                        <a:pt x="181244" y="-20069"/>
                        <a:pt x="80501" y="28331"/>
                        <a:pt x="50950" y="100930"/>
                      </a:cubicBezTo>
                      <a:cubicBezTo>
                        <a:pt x="-55166" y="193696"/>
                        <a:pt x="20055" y="403427"/>
                        <a:pt x="134230" y="450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" name="Google Shape;21;p2"/>
                <p:cNvSpPr/>
                <p:nvPr/>
              </p:nvSpPr>
              <p:spPr>
                <a:xfrm>
                  <a:off x="6757659" y="5205962"/>
                  <a:ext cx="435900" cy="3426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5900" h="342612" extrusionOk="0">
                      <a:moveTo>
                        <a:pt x="95203" y="12694"/>
                      </a:moveTo>
                      <a:cubicBezTo>
                        <a:pt x="-43151" y="-4784"/>
                        <a:pt x="-9570" y="195536"/>
                        <a:pt x="62965" y="256036"/>
                      </a:cubicBezTo>
                      <a:cubicBezTo>
                        <a:pt x="132813" y="315191"/>
                        <a:pt x="400117" y="409301"/>
                        <a:pt x="433698" y="270825"/>
                      </a:cubicBezTo>
                      <a:cubicBezTo>
                        <a:pt x="459220" y="161926"/>
                        <a:pt x="257734" y="-54528"/>
                        <a:pt x="95203" y="126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" name="Google Shape;22;p2"/>
                <p:cNvSpPr/>
                <p:nvPr/>
              </p:nvSpPr>
              <p:spPr>
                <a:xfrm>
                  <a:off x="6730953" y="4336971"/>
                  <a:ext cx="250183" cy="225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183" h="225252" extrusionOk="0">
                      <a:moveTo>
                        <a:pt x="189071" y="210814"/>
                      </a:moveTo>
                      <a:cubicBezTo>
                        <a:pt x="281754" y="169137"/>
                        <a:pt x="258919" y="73682"/>
                        <a:pt x="187728" y="21249"/>
                      </a:cubicBezTo>
                      <a:lnTo>
                        <a:pt x="131312" y="2427"/>
                      </a:lnTo>
                      <a:cubicBezTo>
                        <a:pt x="-90323" y="-31184"/>
                        <a:pt x="-4355" y="296858"/>
                        <a:pt x="189071" y="21081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3" name="Google Shape;23;p2"/>
                <p:cNvSpPr/>
                <p:nvPr/>
              </p:nvSpPr>
              <p:spPr>
                <a:xfrm>
                  <a:off x="8380179" y="4687148"/>
                  <a:ext cx="313136" cy="349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3136" h="349966" extrusionOk="0">
                      <a:moveTo>
                        <a:pt x="177250" y="1802"/>
                      </a:moveTo>
                      <a:cubicBezTo>
                        <a:pt x="138296" y="-6265"/>
                        <a:pt x="126207" y="13902"/>
                        <a:pt x="100685" y="39446"/>
                      </a:cubicBezTo>
                      <a:cubicBezTo>
                        <a:pt x="65761" y="69023"/>
                        <a:pt x="21434" y="66335"/>
                        <a:pt x="5316" y="142967"/>
                      </a:cubicBezTo>
                      <a:cubicBezTo>
                        <a:pt x="-14833" y="237077"/>
                        <a:pt x="21434" y="332532"/>
                        <a:pt x="128893" y="348665"/>
                      </a:cubicBezTo>
                      <a:cubicBezTo>
                        <a:pt x="224263" y="363454"/>
                        <a:pt x="318290" y="249177"/>
                        <a:pt x="312916" y="157756"/>
                      </a:cubicBezTo>
                      <a:cubicBezTo>
                        <a:pt x="310230" y="98601"/>
                        <a:pt x="236352" y="15246"/>
                        <a:pt x="177250" y="180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grpSp>
          <p:nvGrpSpPr>
            <p:cNvPr id="24" name="Google Shape;24;p2"/>
            <p:cNvGrpSpPr/>
            <p:nvPr/>
          </p:nvGrpSpPr>
          <p:grpSpPr>
            <a:xfrm>
              <a:off x="-772246" y="-1232581"/>
              <a:ext cx="7567197" cy="7552605"/>
              <a:chOff x="-772246" y="-1232581"/>
              <a:chExt cx="7567197" cy="7552605"/>
            </a:xfrm>
          </p:grpSpPr>
          <p:grpSp>
            <p:nvGrpSpPr>
              <p:cNvPr id="25" name="Google Shape;25;p2"/>
              <p:cNvGrpSpPr/>
              <p:nvPr/>
            </p:nvGrpSpPr>
            <p:grpSpPr>
              <a:xfrm>
                <a:off x="-772246" y="4375791"/>
                <a:ext cx="1939837" cy="1944233"/>
                <a:chOff x="1770054" y="3336266"/>
                <a:chExt cx="1939837" cy="1944233"/>
              </a:xfrm>
            </p:grpSpPr>
            <p:sp>
              <p:nvSpPr>
                <p:cNvPr id="26" name="Google Shape;26;p2"/>
                <p:cNvSpPr/>
                <p:nvPr/>
              </p:nvSpPr>
              <p:spPr>
                <a:xfrm>
                  <a:off x="2019896" y="3462828"/>
                  <a:ext cx="1278761" cy="150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761" h="1505763" extrusionOk="0">
                      <a:moveTo>
                        <a:pt x="789823" y="613061"/>
                      </a:moveTo>
                      <a:cubicBezTo>
                        <a:pt x="953698" y="426185"/>
                        <a:pt x="1117573" y="239309"/>
                        <a:pt x="1278761" y="51088"/>
                      </a:cubicBezTo>
                      <a:cubicBezTo>
                        <a:pt x="1251897" y="32266"/>
                        <a:pt x="1225032" y="14788"/>
                        <a:pt x="1196824" y="0"/>
                      </a:cubicBezTo>
                      <a:cubicBezTo>
                        <a:pt x="1194137" y="2689"/>
                        <a:pt x="1191451" y="6722"/>
                        <a:pt x="1188765" y="9411"/>
                      </a:cubicBezTo>
                      <a:cubicBezTo>
                        <a:pt x="964444" y="286364"/>
                        <a:pt x="738780" y="564661"/>
                        <a:pt x="517146" y="845648"/>
                      </a:cubicBezTo>
                      <a:cubicBezTo>
                        <a:pt x="345212" y="1063445"/>
                        <a:pt x="171934" y="1281243"/>
                        <a:pt x="0" y="1499042"/>
                      </a:cubicBezTo>
                      <a:cubicBezTo>
                        <a:pt x="1343" y="1501730"/>
                        <a:pt x="4030" y="1503075"/>
                        <a:pt x="5373" y="1505764"/>
                      </a:cubicBezTo>
                      <a:cubicBezTo>
                        <a:pt x="261931" y="1203267"/>
                        <a:pt x="529235" y="911525"/>
                        <a:pt x="789823" y="61306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7" name="Google Shape;27;p2"/>
                <p:cNvSpPr/>
                <p:nvPr/>
              </p:nvSpPr>
              <p:spPr>
                <a:xfrm>
                  <a:off x="1802292" y="3336266"/>
                  <a:ext cx="1027576" cy="1254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576" h="1254540" extrusionOk="0">
                      <a:moveTo>
                        <a:pt x="25522" y="1230341"/>
                      </a:moveTo>
                      <a:cubicBezTo>
                        <a:pt x="323720" y="863311"/>
                        <a:pt x="623262" y="497626"/>
                        <a:pt x="922804" y="131940"/>
                      </a:cubicBezTo>
                      <a:cubicBezTo>
                        <a:pt x="957728" y="88918"/>
                        <a:pt x="992652" y="45897"/>
                        <a:pt x="1027576" y="4219"/>
                      </a:cubicBezTo>
                      <a:cubicBezTo>
                        <a:pt x="973847" y="-1158"/>
                        <a:pt x="920117" y="-1158"/>
                        <a:pt x="866388" y="2875"/>
                      </a:cubicBezTo>
                      <a:cubicBezTo>
                        <a:pt x="757585" y="164207"/>
                        <a:pt x="646097" y="322849"/>
                        <a:pt x="534608" y="482837"/>
                      </a:cubicBezTo>
                      <a:cubicBezTo>
                        <a:pt x="358644" y="734246"/>
                        <a:pt x="182680" y="985655"/>
                        <a:pt x="0" y="1233030"/>
                      </a:cubicBezTo>
                      <a:cubicBezTo>
                        <a:pt x="1343" y="1239752"/>
                        <a:pt x="4030" y="1247819"/>
                        <a:pt x="6716" y="1254541"/>
                      </a:cubicBezTo>
                      <a:cubicBezTo>
                        <a:pt x="13432" y="1245130"/>
                        <a:pt x="18805" y="1238408"/>
                        <a:pt x="25522" y="123034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8" name="Google Shape;28;p2"/>
                <p:cNvSpPr/>
                <p:nvPr/>
              </p:nvSpPr>
              <p:spPr>
                <a:xfrm>
                  <a:off x="1877513" y="3355274"/>
                  <a:ext cx="1250553" cy="14573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0553" h="1457363" extrusionOk="0">
                      <a:moveTo>
                        <a:pt x="1250553" y="61844"/>
                      </a:moveTo>
                      <a:cubicBezTo>
                        <a:pt x="1187421" y="33611"/>
                        <a:pt x="1120259" y="13444"/>
                        <a:pt x="1053098" y="0"/>
                      </a:cubicBezTo>
                      <a:cubicBezTo>
                        <a:pt x="796539" y="337452"/>
                        <a:pt x="537295" y="673560"/>
                        <a:pt x="286109" y="1015046"/>
                      </a:cubicBezTo>
                      <a:cubicBezTo>
                        <a:pt x="190740" y="1144111"/>
                        <a:pt x="92683" y="1271832"/>
                        <a:pt x="0" y="1403587"/>
                      </a:cubicBezTo>
                      <a:cubicBezTo>
                        <a:pt x="9403" y="1422409"/>
                        <a:pt x="20149" y="1439886"/>
                        <a:pt x="30894" y="1457364"/>
                      </a:cubicBezTo>
                      <a:cubicBezTo>
                        <a:pt x="55073" y="1429131"/>
                        <a:pt x="77908" y="1400898"/>
                        <a:pt x="102086" y="1372665"/>
                      </a:cubicBezTo>
                      <a:cubicBezTo>
                        <a:pt x="427149" y="982779"/>
                        <a:pt x="765645" y="606338"/>
                        <a:pt x="1102797" y="227209"/>
                      </a:cubicBezTo>
                      <a:cubicBezTo>
                        <a:pt x="1151154" y="172087"/>
                        <a:pt x="1200854" y="116965"/>
                        <a:pt x="1250553" y="6184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9" name="Google Shape;29;p2"/>
                <p:cNvSpPr/>
                <p:nvPr/>
              </p:nvSpPr>
              <p:spPr>
                <a:xfrm>
                  <a:off x="1770054" y="3383507"/>
                  <a:ext cx="667588" cy="8631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588" h="863125" extrusionOk="0">
                      <a:moveTo>
                        <a:pt x="373420" y="383163"/>
                      </a:moveTo>
                      <a:cubicBezTo>
                        <a:pt x="472819" y="256787"/>
                        <a:pt x="569532" y="129066"/>
                        <a:pt x="667589" y="0"/>
                      </a:cubicBezTo>
                      <a:cubicBezTo>
                        <a:pt x="533265" y="43022"/>
                        <a:pt x="407001" y="116966"/>
                        <a:pt x="298199" y="220487"/>
                      </a:cubicBezTo>
                      <a:cubicBezTo>
                        <a:pt x="288796" y="237965"/>
                        <a:pt x="280736" y="258131"/>
                        <a:pt x="269991" y="275609"/>
                      </a:cubicBezTo>
                      <a:cubicBezTo>
                        <a:pt x="256558" y="297120"/>
                        <a:pt x="240439" y="317286"/>
                        <a:pt x="227007" y="337452"/>
                      </a:cubicBezTo>
                      <a:cubicBezTo>
                        <a:pt x="182680" y="399296"/>
                        <a:pt x="145070" y="463829"/>
                        <a:pt x="107459" y="529706"/>
                      </a:cubicBezTo>
                      <a:cubicBezTo>
                        <a:pt x="89997" y="560628"/>
                        <a:pt x="69848" y="586172"/>
                        <a:pt x="48357" y="613061"/>
                      </a:cubicBezTo>
                      <a:cubicBezTo>
                        <a:pt x="21492" y="693727"/>
                        <a:pt x="4030" y="778426"/>
                        <a:pt x="0" y="863125"/>
                      </a:cubicBezTo>
                      <a:cubicBezTo>
                        <a:pt x="124921" y="703138"/>
                        <a:pt x="248499" y="543151"/>
                        <a:pt x="373420" y="383163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0" name="Google Shape;30;p2"/>
                <p:cNvSpPr/>
                <p:nvPr/>
              </p:nvSpPr>
              <p:spPr>
                <a:xfrm>
                  <a:off x="3035383" y="4432163"/>
                  <a:ext cx="667588" cy="802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588" h="802625" extrusionOk="0">
                      <a:moveTo>
                        <a:pt x="591024" y="274264"/>
                      </a:moveTo>
                      <a:cubicBezTo>
                        <a:pt x="629978" y="186876"/>
                        <a:pt x="655499" y="94110"/>
                        <a:pt x="667589" y="0"/>
                      </a:cubicBezTo>
                      <a:cubicBezTo>
                        <a:pt x="642067" y="32267"/>
                        <a:pt x="615202" y="63188"/>
                        <a:pt x="589681" y="95455"/>
                      </a:cubicBezTo>
                      <a:cubicBezTo>
                        <a:pt x="398941" y="326697"/>
                        <a:pt x="210888" y="560628"/>
                        <a:pt x="13432" y="786493"/>
                      </a:cubicBezTo>
                      <a:cubicBezTo>
                        <a:pt x="9403" y="791871"/>
                        <a:pt x="4030" y="797248"/>
                        <a:pt x="0" y="802626"/>
                      </a:cubicBezTo>
                      <a:cubicBezTo>
                        <a:pt x="38954" y="790526"/>
                        <a:pt x="77908" y="775737"/>
                        <a:pt x="114175" y="758260"/>
                      </a:cubicBezTo>
                      <a:cubicBezTo>
                        <a:pt x="271334" y="595584"/>
                        <a:pt x="431179" y="435596"/>
                        <a:pt x="591024" y="27426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1" name="Google Shape;31;p2"/>
                <p:cNvSpPr/>
                <p:nvPr/>
              </p:nvSpPr>
              <p:spPr>
                <a:xfrm>
                  <a:off x="2206606" y="3565005"/>
                  <a:ext cx="1316371" cy="15891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6371" h="1589118" extrusionOk="0">
                      <a:moveTo>
                        <a:pt x="1316372" y="168054"/>
                      </a:moveTo>
                      <a:cubicBezTo>
                        <a:pt x="1288164" y="129066"/>
                        <a:pt x="1255926" y="91422"/>
                        <a:pt x="1219659" y="56466"/>
                      </a:cubicBezTo>
                      <a:cubicBezTo>
                        <a:pt x="1199510" y="36300"/>
                        <a:pt x="1179362" y="18822"/>
                        <a:pt x="1159213" y="0"/>
                      </a:cubicBezTo>
                      <a:cubicBezTo>
                        <a:pt x="924147" y="329386"/>
                        <a:pt x="682364" y="653394"/>
                        <a:pt x="437895" y="976058"/>
                      </a:cubicBezTo>
                      <a:cubicBezTo>
                        <a:pt x="291482" y="1169656"/>
                        <a:pt x="145070" y="1363254"/>
                        <a:pt x="0" y="1556852"/>
                      </a:cubicBezTo>
                      <a:cubicBezTo>
                        <a:pt x="17462" y="1567608"/>
                        <a:pt x="34924" y="1578363"/>
                        <a:pt x="52386" y="1589119"/>
                      </a:cubicBezTo>
                      <a:cubicBezTo>
                        <a:pt x="222977" y="1394176"/>
                        <a:pt x="390882" y="1196544"/>
                        <a:pt x="562816" y="1002946"/>
                      </a:cubicBezTo>
                      <a:cubicBezTo>
                        <a:pt x="811315" y="721960"/>
                        <a:pt x="1062500" y="445007"/>
                        <a:pt x="1316372" y="16805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2" name="Google Shape;32;p2"/>
                <p:cNvSpPr/>
                <p:nvPr/>
              </p:nvSpPr>
              <p:spPr>
                <a:xfrm>
                  <a:off x="2754646" y="4141766"/>
                  <a:ext cx="955245" cy="11387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5245" h="1138733" extrusionOk="0">
                      <a:moveTo>
                        <a:pt x="0" y="1138734"/>
                      </a:moveTo>
                      <a:cubicBezTo>
                        <a:pt x="18805" y="1138734"/>
                        <a:pt x="37611" y="1137389"/>
                        <a:pt x="56416" y="1136045"/>
                      </a:cubicBezTo>
                      <a:cubicBezTo>
                        <a:pt x="255215" y="924969"/>
                        <a:pt x="455357" y="715238"/>
                        <a:pt x="652813" y="502817"/>
                      </a:cubicBezTo>
                      <a:cubicBezTo>
                        <a:pt x="753556" y="395263"/>
                        <a:pt x="854299" y="287708"/>
                        <a:pt x="955041" y="180154"/>
                      </a:cubicBezTo>
                      <a:cubicBezTo>
                        <a:pt x="956384" y="119654"/>
                        <a:pt x="951012" y="60499"/>
                        <a:pt x="941609" y="0"/>
                      </a:cubicBezTo>
                      <a:cubicBezTo>
                        <a:pt x="719975" y="275609"/>
                        <a:pt x="496998" y="548528"/>
                        <a:pt x="268647" y="818759"/>
                      </a:cubicBezTo>
                      <a:cubicBezTo>
                        <a:pt x="178651" y="926313"/>
                        <a:pt x="89997" y="1032523"/>
                        <a:pt x="0" y="113873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3" name="Google Shape;33;p2"/>
                <p:cNvSpPr/>
                <p:nvPr/>
              </p:nvSpPr>
              <p:spPr>
                <a:xfrm>
                  <a:off x="2508834" y="3868847"/>
                  <a:ext cx="1167272" cy="13928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7272" h="1392831" extrusionOk="0">
                      <a:moveTo>
                        <a:pt x="663559" y="716582"/>
                      </a:moveTo>
                      <a:cubicBezTo>
                        <a:pt x="832807" y="539117"/>
                        <a:pt x="1000711" y="358963"/>
                        <a:pt x="1167273" y="178810"/>
                      </a:cubicBezTo>
                      <a:cubicBezTo>
                        <a:pt x="1149811" y="116966"/>
                        <a:pt x="1126976" y="57811"/>
                        <a:pt x="1097424" y="0"/>
                      </a:cubicBezTo>
                      <a:cubicBezTo>
                        <a:pt x="936236" y="205698"/>
                        <a:pt x="772361" y="410052"/>
                        <a:pt x="609829" y="614406"/>
                      </a:cubicBezTo>
                      <a:cubicBezTo>
                        <a:pt x="405657" y="869848"/>
                        <a:pt x="202829" y="1127978"/>
                        <a:pt x="0" y="1384765"/>
                      </a:cubicBezTo>
                      <a:cubicBezTo>
                        <a:pt x="13432" y="1387454"/>
                        <a:pt x="25522" y="1390142"/>
                        <a:pt x="38954" y="1392831"/>
                      </a:cubicBezTo>
                      <a:cubicBezTo>
                        <a:pt x="243126" y="1164278"/>
                        <a:pt x="451328" y="939758"/>
                        <a:pt x="663559" y="716582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34" name="Google Shape;34;p2"/>
              <p:cNvGrpSpPr/>
              <p:nvPr/>
            </p:nvGrpSpPr>
            <p:grpSpPr>
              <a:xfrm>
                <a:off x="5079974" y="-1232581"/>
                <a:ext cx="1714977" cy="1718183"/>
                <a:chOff x="6050949" y="622044"/>
                <a:chExt cx="1714977" cy="1718183"/>
              </a:xfrm>
            </p:grpSpPr>
            <p:sp>
              <p:nvSpPr>
                <p:cNvPr id="35" name="Google Shape;35;p2"/>
                <p:cNvSpPr/>
                <p:nvPr/>
              </p:nvSpPr>
              <p:spPr>
                <a:xfrm>
                  <a:off x="6503620" y="623388"/>
                  <a:ext cx="298198" cy="2018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8198" h="201842" extrusionOk="0">
                      <a:moveTo>
                        <a:pt x="213575" y="120999"/>
                      </a:moveTo>
                      <a:cubicBezTo>
                        <a:pt x="243126" y="82010"/>
                        <a:pt x="269991" y="40333"/>
                        <a:pt x="298199" y="0"/>
                      </a:cubicBezTo>
                      <a:cubicBezTo>
                        <a:pt x="192083" y="13444"/>
                        <a:pt x="91340" y="45711"/>
                        <a:pt x="0" y="92766"/>
                      </a:cubicBezTo>
                      <a:cubicBezTo>
                        <a:pt x="14776" y="122343"/>
                        <a:pt x="30895" y="150576"/>
                        <a:pt x="53729" y="173432"/>
                      </a:cubicBezTo>
                      <a:cubicBezTo>
                        <a:pt x="118205" y="239309"/>
                        <a:pt x="171935" y="177465"/>
                        <a:pt x="213575" y="120999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" name="Google Shape;36;p2"/>
                <p:cNvSpPr/>
                <p:nvPr/>
              </p:nvSpPr>
              <p:spPr>
                <a:xfrm>
                  <a:off x="6221540" y="622044"/>
                  <a:ext cx="993995" cy="555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3995" h="555282" extrusionOk="0">
                      <a:moveTo>
                        <a:pt x="0" y="332075"/>
                      </a:moveTo>
                      <a:cubicBezTo>
                        <a:pt x="9403" y="419463"/>
                        <a:pt x="88654" y="496095"/>
                        <a:pt x="173278" y="525673"/>
                      </a:cubicBezTo>
                      <a:cubicBezTo>
                        <a:pt x="303572" y="572728"/>
                        <a:pt x="467447" y="559284"/>
                        <a:pt x="596397" y="516262"/>
                      </a:cubicBezTo>
                      <a:cubicBezTo>
                        <a:pt x="741467" y="467862"/>
                        <a:pt x="801912" y="357619"/>
                        <a:pt x="869074" y="229898"/>
                      </a:cubicBezTo>
                      <a:cubicBezTo>
                        <a:pt x="903999" y="164021"/>
                        <a:pt x="944296" y="103521"/>
                        <a:pt x="993995" y="52433"/>
                      </a:cubicBezTo>
                      <a:cubicBezTo>
                        <a:pt x="925490" y="25544"/>
                        <a:pt x="852955" y="8067"/>
                        <a:pt x="776391" y="0"/>
                      </a:cubicBezTo>
                      <a:cubicBezTo>
                        <a:pt x="728034" y="71255"/>
                        <a:pt x="681021" y="145199"/>
                        <a:pt x="629978" y="215109"/>
                      </a:cubicBezTo>
                      <a:cubicBezTo>
                        <a:pt x="564159" y="305186"/>
                        <a:pt x="470133" y="395263"/>
                        <a:pt x="347899" y="367030"/>
                      </a:cubicBezTo>
                      <a:cubicBezTo>
                        <a:pt x="244469" y="344175"/>
                        <a:pt x="193426" y="264853"/>
                        <a:pt x="147756" y="182843"/>
                      </a:cubicBezTo>
                      <a:cubicBezTo>
                        <a:pt x="92684" y="225864"/>
                        <a:pt x="42984" y="276953"/>
                        <a:pt x="0" y="332075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" name="Google Shape;37;p2"/>
                <p:cNvSpPr/>
                <p:nvPr/>
              </p:nvSpPr>
              <p:spPr>
                <a:xfrm>
                  <a:off x="6057665" y="1383866"/>
                  <a:ext cx="1708261" cy="757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61" h="757632" extrusionOk="0">
                      <a:moveTo>
                        <a:pt x="1707254" y="47526"/>
                      </a:moveTo>
                      <a:cubicBezTo>
                        <a:pt x="1687105" y="44837"/>
                        <a:pt x="1666957" y="40804"/>
                        <a:pt x="1646808" y="38115"/>
                      </a:cubicBezTo>
                      <a:cubicBezTo>
                        <a:pt x="1515171" y="15260"/>
                        <a:pt x="1341893" y="-43895"/>
                        <a:pt x="1229062" y="56937"/>
                      </a:cubicBezTo>
                      <a:cubicBezTo>
                        <a:pt x="1135035" y="141636"/>
                        <a:pt x="1096081" y="272046"/>
                        <a:pt x="995338" y="354056"/>
                      </a:cubicBezTo>
                      <a:cubicBezTo>
                        <a:pt x="887880" y="441445"/>
                        <a:pt x="748183" y="477744"/>
                        <a:pt x="611173" y="472366"/>
                      </a:cubicBezTo>
                      <a:cubicBezTo>
                        <a:pt x="393568" y="464300"/>
                        <a:pt x="169248" y="391701"/>
                        <a:pt x="0" y="253224"/>
                      </a:cubicBezTo>
                      <a:cubicBezTo>
                        <a:pt x="14776" y="331201"/>
                        <a:pt x="38954" y="406489"/>
                        <a:pt x="73878" y="476400"/>
                      </a:cubicBezTo>
                      <a:cubicBezTo>
                        <a:pt x="194769" y="515388"/>
                        <a:pt x="307601" y="585299"/>
                        <a:pt x="419090" y="648487"/>
                      </a:cubicBezTo>
                      <a:cubicBezTo>
                        <a:pt x="510430" y="699576"/>
                        <a:pt x="608486" y="753353"/>
                        <a:pt x="714602" y="757386"/>
                      </a:cubicBezTo>
                      <a:cubicBezTo>
                        <a:pt x="850269" y="762764"/>
                        <a:pt x="964444" y="679409"/>
                        <a:pt x="1055784" y="586643"/>
                      </a:cubicBezTo>
                      <a:cubicBezTo>
                        <a:pt x="1212943" y="428000"/>
                        <a:pt x="1418458" y="94581"/>
                        <a:pt x="1687105" y="196758"/>
                      </a:cubicBezTo>
                      <a:cubicBezTo>
                        <a:pt x="1691135" y="198102"/>
                        <a:pt x="1696508" y="200791"/>
                        <a:pt x="1700538" y="202136"/>
                      </a:cubicBezTo>
                      <a:cubicBezTo>
                        <a:pt x="1704567" y="167180"/>
                        <a:pt x="1707254" y="132225"/>
                        <a:pt x="1707254" y="95926"/>
                      </a:cubicBezTo>
                      <a:cubicBezTo>
                        <a:pt x="1708597" y="78448"/>
                        <a:pt x="1708597" y="63659"/>
                        <a:pt x="1707254" y="47526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8" name="Google Shape;38;p2"/>
                <p:cNvSpPr/>
                <p:nvPr/>
              </p:nvSpPr>
              <p:spPr>
                <a:xfrm>
                  <a:off x="6050949" y="756487"/>
                  <a:ext cx="1688448" cy="9357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448" h="935722" extrusionOk="0">
                      <a:moveTo>
                        <a:pt x="247155" y="840270"/>
                      </a:moveTo>
                      <a:cubicBezTo>
                        <a:pt x="381479" y="899425"/>
                        <a:pt x="544011" y="947824"/>
                        <a:pt x="691767" y="933036"/>
                      </a:cubicBezTo>
                      <a:cubicBezTo>
                        <a:pt x="838180" y="919591"/>
                        <a:pt x="925490" y="841614"/>
                        <a:pt x="1002055" y="723304"/>
                      </a:cubicBezTo>
                      <a:cubicBezTo>
                        <a:pt x="1065187" y="623816"/>
                        <a:pt x="1133692" y="531051"/>
                        <a:pt x="1247867" y="488029"/>
                      </a:cubicBezTo>
                      <a:cubicBezTo>
                        <a:pt x="1374131" y="440974"/>
                        <a:pt x="1513828" y="470551"/>
                        <a:pt x="1641435" y="496095"/>
                      </a:cubicBezTo>
                      <a:cubicBezTo>
                        <a:pt x="1656211" y="498784"/>
                        <a:pt x="1672330" y="501473"/>
                        <a:pt x="1688448" y="504162"/>
                      </a:cubicBezTo>
                      <a:cubicBezTo>
                        <a:pt x="1633376" y="294431"/>
                        <a:pt x="1501738" y="115621"/>
                        <a:pt x="1324431" y="0"/>
                      </a:cubicBezTo>
                      <a:cubicBezTo>
                        <a:pt x="1288164" y="24200"/>
                        <a:pt x="1255926" y="53777"/>
                        <a:pt x="1230405" y="94110"/>
                      </a:cubicBezTo>
                      <a:cubicBezTo>
                        <a:pt x="1160556" y="198976"/>
                        <a:pt x="1121603" y="321319"/>
                        <a:pt x="1031606" y="411396"/>
                      </a:cubicBezTo>
                      <a:cubicBezTo>
                        <a:pt x="858328" y="583483"/>
                        <a:pt x="539981" y="623816"/>
                        <a:pt x="314317" y="553906"/>
                      </a:cubicBezTo>
                      <a:cubicBezTo>
                        <a:pt x="214918" y="522984"/>
                        <a:pt x="126264" y="455762"/>
                        <a:pt x="69848" y="372408"/>
                      </a:cubicBezTo>
                      <a:cubicBezTo>
                        <a:pt x="33581" y="453073"/>
                        <a:pt x="9402" y="540462"/>
                        <a:pt x="0" y="631883"/>
                      </a:cubicBezTo>
                      <a:cubicBezTo>
                        <a:pt x="61789" y="720615"/>
                        <a:pt x="141040" y="793215"/>
                        <a:pt x="247155" y="840270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9" name="Google Shape;39;p2"/>
                <p:cNvSpPr/>
                <p:nvPr/>
              </p:nvSpPr>
              <p:spPr>
                <a:xfrm>
                  <a:off x="6381386" y="1731225"/>
                  <a:ext cx="1340550" cy="609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0550" h="609002" extrusionOk="0">
                      <a:moveTo>
                        <a:pt x="1000711" y="186851"/>
                      </a:moveTo>
                      <a:cubicBezTo>
                        <a:pt x="820717" y="385827"/>
                        <a:pt x="625948" y="610347"/>
                        <a:pt x="329093" y="565981"/>
                      </a:cubicBezTo>
                      <a:cubicBezTo>
                        <a:pt x="208202" y="547159"/>
                        <a:pt x="103429" y="490692"/>
                        <a:pt x="0" y="430193"/>
                      </a:cubicBezTo>
                      <a:cubicBezTo>
                        <a:pt x="145069" y="541781"/>
                        <a:pt x="326406" y="609002"/>
                        <a:pt x="523862" y="609002"/>
                      </a:cubicBezTo>
                      <a:cubicBezTo>
                        <a:pt x="903998" y="609002"/>
                        <a:pt x="1226375" y="362971"/>
                        <a:pt x="1340550" y="20141"/>
                      </a:cubicBezTo>
                      <a:cubicBezTo>
                        <a:pt x="1208913" y="-53803"/>
                        <a:pt x="1085335" y="92741"/>
                        <a:pt x="1000711" y="186851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</p:grpSp>
      <p:grpSp>
        <p:nvGrpSpPr>
          <p:cNvPr id="40" name="Google Shape;40;p2"/>
          <p:cNvGrpSpPr/>
          <p:nvPr/>
        </p:nvGrpSpPr>
        <p:grpSpPr>
          <a:xfrm>
            <a:off x="3452484" y="-1938875"/>
            <a:ext cx="7089161" cy="10539219"/>
            <a:chOff x="2589362" y="-1454156"/>
            <a:chExt cx="5316871" cy="7904414"/>
          </a:xfrm>
        </p:grpSpPr>
        <p:sp>
          <p:nvSpPr>
            <p:cNvPr id="41" name="Google Shape;41;p2"/>
            <p:cNvSpPr/>
            <p:nvPr/>
          </p:nvSpPr>
          <p:spPr>
            <a:xfrm>
              <a:off x="4873194" y="4417072"/>
              <a:ext cx="3033038" cy="2033186"/>
            </a:xfrm>
            <a:custGeom>
              <a:avLst/>
              <a:gdLst/>
              <a:ahLst/>
              <a:cxnLst/>
              <a:rect l="l" t="t" r="r" b="b"/>
              <a:pathLst>
                <a:path w="3033038" h="2033186" extrusionOk="0">
                  <a:moveTo>
                    <a:pt x="2145958" y="2033187"/>
                  </a:moveTo>
                  <a:cubicBezTo>
                    <a:pt x="2068050" y="2033187"/>
                    <a:pt x="2008947" y="2010332"/>
                    <a:pt x="1971337" y="1965965"/>
                  </a:cubicBezTo>
                  <a:cubicBezTo>
                    <a:pt x="1918951" y="1904122"/>
                    <a:pt x="1924324" y="1820767"/>
                    <a:pt x="1929696" y="1741446"/>
                  </a:cubicBezTo>
                  <a:cubicBezTo>
                    <a:pt x="1935069" y="1666157"/>
                    <a:pt x="1940443" y="1594903"/>
                    <a:pt x="1898802" y="1545158"/>
                  </a:cubicBezTo>
                  <a:cubicBezTo>
                    <a:pt x="1884027" y="1527681"/>
                    <a:pt x="1863878" y="1514237"/>
                    <a:pt x="1834327" y="1499448"/>
                  </a:cubicBezTo>
                  <a:cubicBezTo>
                    <a:pt x="1640901" y="1403993"/>
                    <a:pt x="1400461" y="1460459"/>
                    <a:pt x="1237930" y="1511548"/>
                  </a:cubicBezTo>
                  <a:cubicBezTo>
                    <a:pt x="1205692" y="1520959"/>
                    <a:pt x="1174798" y="1531714"/>
                    <a:pt x="1142560" y="1542469"/>
                  </a:cubicBezTo>
                  <a:cubicBezTo>
                    <a:pt x="974655" y="1597591"/>
                    <a:pt x="800034" y="1655402"/>
                    <a:pt x="620041" y="1640613"/>
                  </a:cubicBezTo>
                  <a:cubicBezTo>
                    <a:pt x="296321" y="1613724"/>
                    <a:pt x="19614" y="1328705"/>
                    <a:pt x="809" y="1004697"/>
                  </a:cubicBezTo>
                  <a:cubicBezTo>
                    <a:pt x="-4564" y="898487"/>
                    <a:pt x="16927" y="804376"/>
                    <a:pt x="62597" y="733122"/>
                  </a:cubicBezTo>
                  <a:cubicBezTo>
                    <a:pt x="119014" y="645734"/>
                    <a:pt x="215727" y="594645"/>
                    <a:pt x="308410" y="602712"/>
                  </a:cubicBezTo>
                  <a:cubicBezTo>
                    <a:pt x="370199" y="608089"/>
                    <a:pt x="425271" y="637667"/>
                    <a:pt x="474971" y="664556"/>
                  </a:cubicBezTo>
                  <a:lnTo>
                    <a:pt x="687203" y="778832"/>
                  </a:lnTo>
                  <a:cubicBezTo>
                    <a:pt x="763767" y="819165"/>
                    <a:pt x="841675" y="854120"/>
                    <a:pt x="907493" y="823198"/>
                  </a:cubicBezTo>
                  <a:cubicBezTo>
                    <a:pt x="1002863" y="777488"/>
                    <a:pt x="990774" y="632289"/>
                    <a:pt x="953164" y="544901"/>
                  </a:cubicBezTo>
                  <a:cubicBezTo>
                    <a:pt x="942417" y="519357"/>
                    <a:pt x="928985" y="495157"/>
                    <a:pt x="916896" y="469613"/>
                  </a:cubicBezTo>
                  <a:cubicBezTo>
                    <a:pt x="876599" y="388947"/>
                    <a:pt x="834959" y="305592"/>
                    <a:pt x="845705" y="212826"/>
                  </a:cubicBezTo>
                  <a:cubicBezTo>
                    <a:pt x="856450" y="118716"/>
                    <a:pt x="927642" y="34017"/>
                    <a:pt x="1018982" y="8473"/>
                  </a:cubicBezTo>
                  <a:cubicBezTo>
                    <a:pt x="1110322" y="-17072"/>
                    <a:pt x="1215095" y="16539"/>
                    <a:pt x="1274197" y="90483"/>
                  </a:cubicBezTo>
                  <a:cubicBezTo>
                    <a:pt x="1338672" y="171149"/>
                    <a:pt x="1342702" y="281392"/>
                    <a:pt x="1341359" y="387602"/>
                  </a:cubicBezTo>
                  <a:cubicBezTo>
                    <a:pt x="1340016" y="480368"/>
                    <a:pt x="1338672" y="585234"/>
                    <a:pt x="1393745" y="661867"/>
                  </a:cubicBezTo>
                  <a:cubicBezTo>
                    <a:pt x="1421953" y="702199"/>
                    <a:pt x="1478369" y="729088"/>
                    <a:pt x="1529412" y="726399"/>
                  </a:cubicBezTo>
                  <a:cubicBezTo>
                    <a:pt x="1565679" y="725055"/>
                    <a:pt x="1593887" y="710266"/>
                    <a:pt x="1611350" y="683377"/>
                  </a:cubicBezTo>
                  <a:cubicBezTo>
                    <a:pt x="1644931" y="629600"/>
                    <a:pt x="1619409" y="557001"/>
                    <a:pt x="1596574" y="491124"/>
                  </a:cubicBezTo>
                  <a:lnTo>
                    <a:pt x="1595231" y="485746"/>
                  </a:lnTo>
                  <a:cubicBezTo>
                    <a:pt x="1573739" y="425247"/>
                    <a:pt x="1549561" y="315003"/>
                    <a:pt x="1623439" y="257193"/>
                  </a:cubicBezTo>
                  <a:cubicBezTo>
                    <a:pt x="1655676" y="231648"/>
                    <a:pt x="1695973" y="226271"/>
                    <a:pt x="1736270" y="241059"/>
                  </a:cubicBezTo>
                  <a:cubicBezTo>
                    <a:pt x="1799403" y="263915"/>
                    <a:pt x="1857162" y="331137"/>
                    <a:pt x="1873281" y="402391"/>
                  </a:cubicBezTo>
                  <a:cubicBezTo>
                    <a:pt x="1881340" y="440035"/>
                    <a:pt x="1885370" y="479024"/>
                    <a:pt x="1888056" y="516668"/>
                  </a:cubicBezTo>
                  <a:cubicBezTo>
                    <a:pt x="1893429" y="581201"/>
                    <a:pt x="1897459" y="643045"/>
                    <a:pt x="1929696" y="694133"/>
                  </a:cubicBezTo>
                  <a:cubicBezTo>
                    <a:pt x="1940443" y="710266"/>
                    <a:pt x="1951188" y="721022"/>
                    <a:pt x="1961934" y="725055"/>
                  </a:cubicBezTo>
                  <a:cubicBezTo>
                    <a:pt x="1986113" y="733122"/>
                    <a:pt x="2017007" y="715644"/>
                    <a:pt x="2051931" y="671278"/>
                  </a:cubicBezTo>
                  <a:cubicBezTo>
                    <a:pt x="2069393" y="649767"/>
                    <a:pt x="2088199" y="625567"/>
                    <a:pt x="2105661" y="602712"/>
                  </a:cubicBezTo>
                  <a:cubicBezTo>
                    <a:pt x="2264162" y="399702"/>
                    <a:pt x="2442813" y="169805"/>
                    <a:pt x="2736982" y="242404"/>
                  </a:cubicBezTo>
                  <a:cubicBezTo>
                    <a:pt x="2839068" y="267948"/>
                    <a:pt x="2931751" y="340547"/>
                    <a:pt x="2985481" y="438691"/>
                  </a:cubicBezTo>
                  <a:cubicBezTo>
                    <a:pt x="3035181" y="527423"/>
                    <a:pt x="3045926" y="624223"/>
                    <a:pt x="3017718" y="711611"/>
                  </a:cubicBezTo>
                  <a:cubicBezTo>
                    <a:pt x="2992197" y="789588"/>
                    <a:pt x="2938467" y="856809"/>
                    <a:pt x="2886081" y="921342"/>
                  </a:cubicBezTo>
                  <a:cubicBezTo>
                    <a:pt x="2817576" y="1007386"/>
                    <a:pt x="2753101" y="1086707"/>
                    <a:pt x="2755787" y="1187539"/>
                  </a:cubicBezTo>
                  <a:cubicBezTo>
                    <a:pt x="2758474" y="1248039"/>
                    <a:pt x="2786682" y="1305850"/>
                    <a:pt x="2814889" y="1362316"/>
                  </a:cubicBezTo>
                  <a:cubicBezTo>
                    <a:pt x="2849814" y="1434915"/>
                    <a:pt x="2887425" y="1510203"/>
                    <a:pt x="2873992" y="1592214"/>
                  </a:cubicBezTo>
                  <a:cubicBezTo>
                    <a:pt x="2860560" y="1671535"/>
                    <a:pt x="2801457" y="1732034"/>
                    <a:pt x="2758474" y="1772367"/>
                  </a:cubicBezTo>
                  <a:cubicBezTo>
                    <a:pt x="2609374" y="1910844"/>
                    <a:pt x="2415948" y="2002265"/>
                    <a:pt x="2214463" y="2029154"/>
                  </a:cubicBezTo>
                  <a:cubicBezTo>
                    <a:pt x="2191628" y="2030498"/>
                    <a:pt x="2168793" y="2033187"/>
                    <a:pt x="2145958" y="2033187"/>
                  </a:cubicBezTo>
                  <a:close/>
                  <a:moveTo>
                    <a:pt x="1596574" y="1406682"/>
                  </a:moveTo>
                  <a:cubicBezTo>
                    <a:pt x="1718809" y="1406682"/>
                    <a:pt x="1796716" y="1434915"/>
                    <a:pt x="1853132" y="1463148"/>
                  </a:cubicBezTo>
                  <a:cubicBezTo>
                    <a:pt x="1874624" y="1473904"/>
                    <a:pt x="1906862" y="1491381"/>
                    <a:pt x="1929696" y="1519614"/>
                  </a:cubicBezTo>
                  <a:cubicBezTo>
                    <a:pt x="1982083" y="1581458"/>
                    <a:pt x="1976710" y="1664813"/>
                    <a:pt x="1969994" y="1744134"/>
                  </a:cubicBezTo>
                  <a:cubicBezTo>
                    <a:pt x="1964621" y="1819422"/>
                    <a:pt x="1959248" y="1890678"/>
                    <a:pt x="2002231" y="1940421"/>
                  </a:cubicBezTo>
                  <a:cubicBezTo>
                    <a:pt x="2041185" y="1986132"/>
                    <a:pt x="2111033" y="2002265"/>
                    <a:pt x="2210433" y="1987476"/>
                  </a:cubicBezTo>
                  <a:cubicBezTo>
                    <a:pt x="2403859" y="1960588"/>
                    <a:pt x="2589226" y="1873200"/>
                    <a:pt x="2732952" y="1740101"/>
                  </a:cubicBezTo>
                  <a:cubicBezTo>
                    <a:pt x="2771906" y="1705146"/>
                    <a:pt x="2824292" y="1650024"/>
                    <a:pt x="2835038" y="1582802"/>
                  </a:cubicBezTo>
                  <a:cubicBezTo>
                    <a:pt x="2847127" y="1512892"/>
                    <a:pt x="2814889" y="1447015"/>
                    <a:pt x="2779966" y="1377104"/>
                  </a:cubicBezTo>
                  <a:cubicBezTo>
                    <a:pt x="2750414" y="1316605"/>
                    <a:pt x="2719520" y="1253417"/>
                    <a:pt x="2716833" y="1186195"/>
                  </a:cubicBezTo>
                  <a:cubicBezTo>
                    <a:pt x="2712804" y="1070574"/>
                    <a:pt x="2785338" y="980497"/>
                    <a:pt x="2855187" y="893109"/>
                  </a:cubicBezTo>
                  <a:cubicBezTo>
                    <a:pt x="2904886" y="831265"/>
                    <a:pt x="2955929" y="768077"/>
                    <a:pt x="2978764" y="696822"/>
                  </a:cubicBezTo>
                  <a:cubicBezTo>
                    <a:pt x="3004286" y="620189"/>
                    <a:pt x="2993540" y="535490"/>
                    <a:pt x="2949213" y="456169"/>
                  </a:cubicBezTo>
                  <a:cubicBezTo>
                    <a:pt x="2900857" y="367436"/>
                    <a:pt x="2816233" y="301559"/>
                    <a:pt x="2726236" y="280048"/>
                  </a:cubicBezTo>
                  <a:lnTo>
                    <a:pt x="2726236" y="280048"/>
                  </a:lnTo>
                  <a:cubicBezTo>
                    <a:pt x="2457589" y="212826"/>
                    <a:pt x="2286998" y="431969"/>
                    <a:pt x="2136555" y="625567"/>
                  </a:cubicBezTo>
                  <a:cubicBezTo>
                    <a:pt x="2117750" y="649767"/>
                    <a:pt x="2100288" y="672622"/>
                    <a:pt x="2082825" y="694133"/>
                  </a:cubicBezTo>
                  <a:cubicBezTo>
                    <a:pt x="2065363" y="715644"/>
                    <a:pt x="2011634" y="782865"/>
                    <a:pt x="1947159" y="760010"/>
                  </a:cubicBezTo>
                  <a:cubicBezTo>
                    <a:pt x="1927010" y="753288"/>
                    <a:pt x="1909548" y="737155"/>
                    <a:pt x="1893429" y="711611"/>
                  </a:cubicBezTo>
                  <a:cubicBezTo>
                    <a:pt x="1857162" y="652456"/>
                    <a:pt x="1851789" y="582545"/>
                    <a:pt x="1846416" y="516668"/>
                  </a:cubicBezTo>
                  <a:cubicBezTo>
                    <a:pt x="1843729" y="480368"/>
                    <a:pt x="1841043" y="442724"/>
                    <a:pt x="1832984" y="409113"/>
                  </a:cubicBezTo>
                  <a:cubicBezTo>
                    <a:pt x="1819551" y="351303"/>
                    <a:pt x="1771195" y="294837"/>
                    <a:pt x="1721495" y="276015"/>
                  </a:cubicBezTo>
                  <a:cubicBezTo>
                    <a:pt x="1693287" y="266604"/>
                    <a:pt x="1667765" y="269293"/>
                    <a:pt x="1646273" y="285426"/>
                  </a:cubicBezTo>
                  <a:cubicBezTo>
                    <a:pt x="1592544" y="327103"/>
                    <a:pt x="1614036" y="418525"/>
                    <a:pt x="1631498" y="469613"/>
                  </a:cubicBezTo>
                  <a:lnTo>
                    <a:pt x="1632841" y="474991"/>
                  </a:lnTo>
                  <a:cubicBezTo>
                    <a:pt x="1657020" y="544901"/>
                    <a:pt x="1686571" y="632289"/>
                    <a:pt x="1643587" y="700855"/>
                  </a:cubicBezTo>
                  <a:cubicBezTo>
                    <a:pt x="1619409" y="738499"/>
                    <a:pt x="1579112" y="761355"/>
                    <a:pt x="1529412" y="762699"/>
                  </a:cubicBezTo>
                  <a:cubicBezTo>
                    <a:pt x="1464937" y="765388"/>
                    <a:pt x="1396432" y="731777"/>
                    <a:pt x="1360164" y="680689"/>
                  </a:cubicBezTo>
                  <a:cubicBezTo>
                    <a:pt x="1297032" y="593301"/>
                    <a:pt x="1298375" y="476335"/>
                    <a:pt x="1299719" y="382225"/>
                  </a:cubicBezTo>
                  <a:cubicBezTo>
                    <a:pt x="1301062" y="284081"/>
                    <a:pt x="1297032" y="181905"/>
                    <a:pt x="1240616" y="110649"/>
                  </a:cubicBezTo>
                  <a:cubicBezTo>
                    <a:pt x="1190916" y="48806"/>
                    <a:pt x="1103606" y="20573"/>
                    <a:pt x="1028385" y="42084"/>
                  </a:cubicBezTo>
                  <a:cubicBezTo>
                    <a:pt x="951820" y="63594"/>
                    <a:pt x="892718" y="133505"/>
                    <a:pt x="884658" y="212826"/>
                  </a:cubicBezTo>
                  <a:cubicBezTo>
                    <a:pt x="875256" y="293492"/>
                    <a:pt x="912867" y="367436"/>
                    <a:pt x="951820" y="446757"/>
                  </a:cubicBezTo>
                  <a:cubicBezTo>
                    <a:pt x="963909" y="472302"/>
                    <a:pt x="977342" y="497846"/>
                    <a:pt x="988087" y="523390"/>
                  </a:cubicBezTo>
                  <a:cubicBezTo>
                    <a:pt x="1057936" y="684722"/>
                    <a:pt x="1006893" y="815132"/>
                    <a:pt x="923612" y="854120"/>
                  </a:cubicBezTo>
                  <a:cubicBezTo>
                    <a:pt x="843018" y="893109"/>
                    <a:pt x="753021" y="855465"/>
                    <a:pt x="667054" y="809754"/>
                  </a:cubicBezTo>
                  <a:lnTo>
                    <a:pt x="454823" y="695477"/>
                  </a:lnTo>
                  <a:cubicBezTo>
                    <a:pt x="409153" y="671278"/>
                    <a:pt x="358110" y="643045"/>
                    <a:pt x="304380" y="639011"/>
                  </a:cubicBezTo>
                  <a:cubicBezTo>
                    <a:pt x="226472" y="632289"/>
                    <a:pt x="144535" y="676655"/>
                    <a:pt x="96178" y="751944"/>
                  </a:cubicBezTo>
                  <a:cubicBezTo>
                    <a:pt x="43792" y="832610"/>
                    <a:pt x="37076" y="930753"/>
                    <a:pt x="39762" y="999319"/>
                  </a:cubicBezTo>
                  <a:cubicBezTo>
                    <a:pt x="57225" y="1304505"/>
                    <a:pt x="317812" y="1572047"/>
                    <a:pt x="621384" y="1597591"/>
                  </a:cubicBezTo>
                  <a:cubicBezTo>
                    <a:pt x="791975" y="1612380"/>
                    <a:pt x="962566" y="1555914"/>
                    <a:pt x="1127784" y="1502136"/>
                  </a:cubicBezTo>
                  <a:cubicBezTo>
                    <a:pt x="1160022" y="1491381"/>
                    <a:pt x="1192260" y="1480626"/>
                    <a:pt x="1224497" y="1471215"/>
                  </a:cubicBezTo>
                  <a:cubicBezTo>
                    <a:pt x="1381656" y="1424160"/>
                    <a:pt x="1502547" y="1406682"/>
                    <a:pt x="1596574" y="140668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2589362" y="-1454156"/>
              <a:ext cx="2066222" cy="2161334"/>
            </a:xfrm>
            <a:custGeom>
              <a:avLst/>
              <a:gdLst/>
              <a:ahLst/>
              <a:cxnLst/>
              <a:rect l="l" t="t" r="r" b="b"/>
              <a:pathLst>
                <a:path w="2066222" h="2161334" extrusionOk="0">
                  <a:moveTo>
                    <a:pt x="337808" y="2161335"/>
                  </a:moveTo>
                  <a:cubicBezTo>
                    <a:pt x="321689" y="2161335"/>
                    <a:pt x="306913" y="2159990"/>
                    <a:pt x="290794" y="2155957"/>
                  </a:cubicBezTo>
                  <a:cubicBezTo>
                    <a:pt x="216916" y="2139824"/>
                    <a:pt x="149755" y="2086046"/>
                    <a:pt x="86623" y="1989247"/>
                  </a:cubicBezTo>
                  <a:cubicBezTo>
                    <a:pt x="7371" y="1868248"/>
                    <a:pt x="-18150" y="1753972"/>
                    <a:pt x="12745" y="1661206"/>
                  </a:cubicBezTo>
                  <a:cubicBezTo>
                    <a:pt x="67817" y="1495841"/>
                    <a:pt x="269303" y="1448786"/>
                    <a:pt x="383478" y="1435341"/>
                  </a:cubicBezTo>
                  <a:cubicBezTo>
                    <a:pt x="407656" y="1432653"/>
                    <a:pt x="433177" y="1429964"/>
                    <a:pt x="458699" y="1427275"/>
                  </a:cubicBezTo>
                  <a:cubicBezTo>
                    <a:pt x="576904" y="1415175"/>
                    <a:pt x="700482" y="1403075"/>
                    <a:pt x="790479" y="1333165"/>
                  </a:cubicBezTo>
                  <a:cubicBezTo>
                    <a:pt x="817343" y="1312998"/>
                    <a:pt x="836148" y="1290143"/>
                    <a:pt x="845551" y="1267287"/>
                  </a:cubicBezTo>
                  <a:cubicBezTo>
                    <a:pt x="872416" y="1202755"/>
                    <a:pt x="837492" y="1127467"/>
                    <a:pt x="803911" y="1053523"/>
                  </a:cubicBezTo>
                  <a:cubicBezTo>
                    <a:pt x="763614" y="964790"/>
                    <a:pt x="721973" y="873369"/>
                    <a:pt x="782419" y="796736"/>
                  </a:cubicBezTo>
                  <a:cubicBezTo>
                    <a:pt x="842865" y="720104"/>
                    <a:pt x="957040" y="733548"/>
                    <a:pt x="1044350" y="771192"/>
                  </a:cubicBezTo>
                  <a:cubicBezTo>
                    <a:pt x="1059126" y="777914"/>
                    <a:pt x="1073902" y="784636"/>
                    <a:pt x="1088677" y="791359"/>
                  </a:cubicBezTo>
                  <a:cubicBezTo>
                    <a:pt x="1153152" y="820936"/>
                    <a:pt x="1213598" y="850514"/>
                    <a:pt x="1275387" y="839758"/>
                  </a:cubicBezTo>
                  <a:cubicBezTo>
                    <a:pt x="1318371" y="833036"/>
                    <a:pt x="1353295" y="787325"/>
                    <a:pt x="1360011" y="749681"/>
                  </a:cubicBezTo>
                  <a:cubicBezTo>
                    <a:pt x="1364041" y="730859"/>
                    <a:pt x="1362697" y="705315"/>
                    <a:pt x="1337176" y="691871"/>
                  </a:cubicBezTo>
                  <a:cubicBezTo>
                    <a:pt x="1322400" y="683804"/>
                    <a:pt x="1304938" y="681115"/>
                    <a:pt x="1284790" y="678426"/>
                  </a:cubicBezTo>
                  <a:lnTo>
                    <a:pt x="1280760" y="678426"/>
                  </a:lnTo>
                  <a:cubicBezTo>
                    <a:pt x="1181360" y="666326"/>
                    <a:pt x="1111512" y="639438"/>
                    <a:pt x="1059126" y="595072"/>
                  </a:cubicBezTo>
                  <a:cubicBezTo>
                    <a:pt x="998680" y="543983"/>
                    <a:pt x="958383" y="448528"/>
                    <a:pt x="995994" y="366518"/>
                  </a:cubicBezTo>
                  <a:cubicBezTo>
                    <a:pt x="1040321" y="269719"/>
                    <a:pt x="1236433" y="77465"/>
                    <a:pt x="1334489" y="34443"/>
                  </a:cubicBezTo>
                  <a:cubicBezTo>
                    <a:pt x="1486275" y="-30089"/>
                    <a:pt x="1706566" y="-1856"/>
                    <a:pt x="1848949" y="101665"/>
                  </a:cubicBezTo>
                  <a:lnTo>
                    <a:pt x="1848949" y="101665"/>
                  </a:lnTo>
                  <a:cubicBezTo>
                    <a:pt x="2034316" y="236108"/>
                    <a:pt x="2094761" y="502306"/>
                    <a:pt x="1981930" y="682460"/>
                  </a:cubicBezTo>
                  <a:cubicBezTo>
                    <a:pt x="1973870" y="694560"/>
                    <a:pt x="1965811" y="706659"/>
                    <a:pt x="1957751" y="717415"/>
                  </a:cubicBezTo>
                  <a:cubicBezTo>
                    <a:pt x="1941633" y="740270"/>
                    <a:pt x="1926857" y="761781"/>
                    <a:pt x="1916111" y="785981"/>
                  </a:cubicBezTo>
                  <a:cubicBezTo>
                    <a:pt x="1879844" y="876058"/>
                    <a:pt x="1929543" y="968824"/>
                    <a:pt x="1981930" y="1066967"/>
                  </a:cubicBezTo>
                  <a:cubicBezTo>
                    <a:pt x="2034316" y="1165111"/>
                    <a:pt x="2088045" y="1267287"/>
                    <a:pt x="2057151" y="1372153"/>
                  </a:cubicBezTo>
                  <a:cubicBezTo>
                    <a:pt x="2030286" y="1464919"/>
                    <a:pt x="1944319" y="1525418"/>
                    <a:pt x="1858352" y="1577851"/>
                  </a:cubicBezTo>
                  <a:cubicBezTo>
                    <a:pt x="1710596" y="1669272"/>
                    <a:pt x="1538662" y="1752627"/>
                    <a:pt x="1388219" y="1678684"/>
                  </a:cubicBezTo>
                  <a:cubicBezTo>
                    <a:pt x="1358668" y="1663895"/>
                    <a:pt x="1329117" y="1643728"/>
                    <a:pt x="1302252" y="1623562"/>
                  </a:cubicBezTo>
                  <a:cubicBezTo>
                    <a:pt x="1247179" y="1583229"/>
                    <a:pt x="1194793" y="1544241"/>
                    <a:pt x="1138377" y="1561718"/>
                  </a:cubicBezTo>
                  <a:cubicBezTo>
                    <a:pt x="1095393" y="1573818"/>
                    <a:pt x="1067185" y="1616840"/>
                    <a:pt x="1038977" y="1657173"/>
                  </a:cubicBezTo>
                  <a:lnTo>
                    <a:pt x="1034948" y="1662550"/>
                  </a:lnTo>
                  <a:cubicBezTo>
                    <a:pt x="903310" y="1852115"/>
                    <a:pt x="724660" y="2005380"/>
                    <a:pt x="516458" y="2106213"/>
                  </a:cubicBezTo>
                  <a:cubicBezTo>
                    <a:pt x="466758" y="2135791"/>
                    <a:pt x="402283" y="2161335"/>
                    <a:pt x="337808" y="2161335"/>
                  </a:cubicBezTo>
                  <a:close/>
                  <a:moveTo>
                    <a:pt x="911370" y="783292"/>
                  </a:moveTo>
                  <a:cubicBezTo>
                    <a:pt x="872416" y="783292"/>
                    <a:pt x="836148" y="794047"/>
                    <a:pt x="813313" y="823625"/>
                  </a:cubicBezTo>
                  <a:cubicBezTo>
                    <a:pt x="767644" y="881436"/>
                    <a:pt x="801224" y="954035"/>
                    <a:pt x="838835" y="1038734"/>
                  </a:cubicBezTo>
                  <a:cubicBezTo>
                    <a:pt x="876446" y="1119400"/>
                    <a:pt x="914056" y="1204099"/>
                    <a:pt x="880475" y="1284765"/>
                  </a:cubicBezTo>
                  <a:cubicBezTo>
                    <a:pt x="868386" y="1314343"/>
                    <a:pt x="845551" y="1341231"/>
                    <a:pt x="813313" y="1366775"/>
                  </a:cubicBezTo>
                  <a:cubicBezTo>
                    <a:pt x="712571" y="1443408"/>
                    <a:pt x="584963" y="1456852"/>
                    <a:pt x="460042" y="1468952"/>
                  </a:cubicBezTo>
                  <a:cubicBezTo>
                    <a:pt x="435864" y="1471641"/>
                    <a:pt x="410342" y="1474330"/>
                    <a:pt x="386164" y="1477019"/>
                  </a:cubicBezTo>
                  <a:cubicBezTo>
                    <a:pt x="281392" y="1489119"/>
                    <a:pt x="97368" y="1532140"/>
                    <a:pt x="49012" y="1675995"/>
                  </a:cubicBezTo>
                  <a:cubicBezTo>
                    <a:pt x="14088" y="1778172"/>
                    <a:pt x="67817" y="1892448"/>
                    <a:pt x="117517" y="1969081"/>
                  </a:cubicBezTo>
                  <a:cubicBezTo>
                    <a:pt x="173933" y="2056469"/>
                    <a:pt x="233035" y="2104869"/>
                    <a:pt x="296167" y="2118313"/>
                  </a:cubicBezTo>
                  <a:cubicBezTo>
                    <a:pt x="366016" y="2133102"/>
                    <a:pt x="439894" y="2103524"/>
                    <a:pt x="497653" y="2076635"/>
                  </a:cubicBezTo>
                  <a:cubicBezTo>
                    <a:pt x="699138" y="1979836"/>
                    <a:pt x="873759" y="1830604"/>
                    <a:pt x="1000024" y="1646417"/>
                  </a:cubicBezTo>
                  <a:lnTo>
                    <a:pt x="1004053" y="1641040"/>
                  </a:lnTo>
                  <a:cubicBezTo>
                    <a:pt x="1034948" y="1596673"/>
                    <a:pt x="1069872" y="1546929"/>
                    <a:pt x="1124944" y="1529452"/>
                  </a:cubicBezTo>
                  <a:cubicBezTo>
                    <a:pt x="1200166" y="1506596"/>
                    <a:pt x="1263298" y="1553651"/>
                    <a:pt x="1323743" y="1598018"/>
                  </a:cubicBezTo>
                  <a:cubicBezTo>
                    <a:pt x="1349265" y="1616840"/>
                    <a:pt x="1377473" y="1637006"/>
                    <a:pt x="1404338" y="1650451"/>
                  </a:cubicBezTo>
                  <a:cubicBezTo>
                    <a:pt x="1535975" y="1714983"/>
                    <a:pt x="1695820" y="1637006"/>
                    <a:pt x="1835516" y="1550963"/>
                  </a:cubicBezTo>
                  <a:cubicBezTo>
                    <a:pt x="1917454" y="1499874"/>
                    <a:pt x="1992675" y="1447441"/>
                    <a:pt x="2016853" y="1368120"/>
                  </a:cubicBezTo>
                  <a:cubicBezTo>
                    <a:pt x="2043718" y="1278043"/>
                    <a:pt x="1995362" y="1187966"/>
                    <a:pt x="1944319" y="1092511"/>
                  </a:cubicBezTo>
                  <a:cubicBezTo>
                    <a:pt x="1889246" y="990335"/>
                    <a:pt x="1832830" y="884124"/>
                    <a:pt x="1875814" y="776570"/>
                  </a:cubicBezTo>
                  <a:cubicBezTo>
                    <a:pt x="1886560" y="748337"/>
                    <a:pt x="1904022" y="722793"/>
                    <a:pt x="1921484" y="698593"/>
                  </a:cubicBezTo>
                  <a:cubicBezTo>
                    <a:pt x="1929543" y="686493"/>
                    <a:pt x="1937603" y="675737"/>
                    <a:pt x="1944319" y="664982"/>
                  </a:cubicBezTo>
                  <a:cubicBezTo>
                    <a:pt x="2045061" y="504995"/>
                    <a:pt x="1987302" y="257619"/>
                    <a:pt x="1822084" y="137965"/>
                  </a:cubicBezTo>
                  <a:lnTo>
                    <a:pt x="1822084" y="137965"/>
                  </a:lnTo>
                  <a:cubicBezTo>
                    <a:pt x="1690447" y="42510"/>
                    <a:pt x="1486275" y="15621"/>
                    <a:pt x="1346578" y="74776"/>
                  </a:cubicBezTo>
                  <a:cubicBezTo>
                    <a:pt x="1256582" y="113765"/>
                    <a:pt x="1069872" y="296608"/>
                    <a:pt x="1028231" y="386685"/>
                  </a:cubicBezTo>
                  <a:cubicBezTo>
                    <a:pt x="998680" y="451217"/>
                    <a:pt x="1032261" y="526506"/>
                    <a:pt x="1080618" y="568183"/>
                  </a:cubicBezTo>
                  <a:cubicBezTo>
                    <a:pt x="1126288" y="607171"/>
                    <a:pt x="1190763" y="631371"/>
                    <a:pt x="1280760" y="642127"/>
                  </a:cubicBezTo>
                  <a:lnTo>
                    <a:pt x="1284790" y="642127"/>
                  </a:lnTo>
                  <a:cubicBezTo>
                    <a:pt x="1306281" y="644815"/>
                    <a:pt x="1330460" y="647504"/>
                    <a:pt x="1353295" y="659604"/>
                  </a:cubicBezTo>
                  <a:cubicBezTo>
                    <a:pt x="1386876" y="679771"/>
                    <a:pt x="1402995" y="717415"/>
                    <a:pt x="1394935" y="760437"/>
                  </a:cubicBezTo>
                  <a:cubicBezTo>
                    <a:pt x="1385532" y="811525"/>
                    <a:pt x="1341206" y="872024"/>
                    <a:pt x="1276730" y="882780"/>
                  </a:cubicBezTo>
                  <a:cubicBezTo>
                    <a:pt x="1201509" y="894880"/>
                    <a:pt x="1133004" y="862613"/>
                    <a:pt x="1065842" y="831692"/>
                  </a:cubicBezTo>
                  <a:cubicBezTo>
                    <a:pt x="1051066" y="824969"/>
                    <a:pt x="1036291" y="818247"/>
                    <a:pt x="1021515" y="811525"/>
                  </a:cubicBezTo>
                  <a:cubicBezTo>
                    <a:pt x="993307" y="795392"/>
                    <a:pt x="950324" y="783292"/>
                    <a:pt x="911370" y="78329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43" name="Google Shape;43;p2"/>
          <p:cNvSpPr txBox="1">
            <a:spLocks noGrp="1"/>
          </p:cNvSpPr>
          <p:nvPr>
            <p:ph type="ctrTitle"/>
          </p:nvPr>
        </p:nvSpPr>
        <p:spPr>
          <a:xfrm>
            <a:off x="1364900" y="2010300"/>
            <a:ext cx="9462400" cy="215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000">
                <a:latin typeface="Barlow"/>
                <a:ea typeface="Barlow"/>
                <a:cs typeface="Barlow"/>
                <a:sym typeface="Barlow"/>
              </a:defRPr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6933">
                <a:solidFill>
                  <a:srgbClr val="191919"/>
                </a:solidFill>
              </a:defRPr>
            </a:lvl9pPr>
          </a:lstStyle>
          <a:p>
            <a:endParaRPr/>
          </a:p>
        </p:txBody>
      </p:sp>
      <p:sp>
        <p:nvSpPr>
          <p:cNvPr id="44" name="Google Shape;44;p2"/>
          <p:cNvSpPr txBox="1">
            <a:spLocks noGrp="1"/>
          </p:cNvSpPr>
          <p:nvPr>
            <p:ph type="subTitle" idx="1"/>
          </p:nvPr>
        </p:nvSpPr>
        <p:spPr>
          <a:xfrm>
            <a:off x="3076900" y="4291100"/>
            <a:ext cx="6038400" cy="57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1400"/>
              <a:buNone/>
              <a:defRPr sz="2133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24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header" type="secHead">
  <p:cSld name="SECTION_HEADER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oogle Shape;46;p3"/>
          <p:cNvGrpSpPr/>
          <p:nvPr/>
        </p:nvGrpSpPr>
        <p:grpSpPr>
          <a:xfrm>
            <a:off x="-166801" y="-1629211"/>
            <a:ext cx="13865805" cy="9479748"/>
            <a:chOff x="-125101" y="-1221909"/>
            <a:chExt cx="10399354" cy="7109811"/>
          </a:xfrm>
        </p:grpSpPr>
        <p:sp>
          <p:nvSpPr>
            <p:cNvPr id="47" name="Google Shape;47;p3"/>
            <p:cNvSpPr/>
            <p:nvPr/>
          </p:nvSpPr>
          <p:spPr>
            <a:xfrm rot="-1840136">
              <a:off x="7403389" y="3080058"/>
              <a:ext cx="2493993" cy="2161597"/>
            </a:xfrm>
            <a:custGeom>
              <a:avLst/>
              <a:gdLst/>
              <a:ahLst/>
              <a:cxnLst/>
              <a:rect l="l" t="t" r="r" b="b"/>
              <a:pathLst>
                <a:path w="2494367" h="2161921" extrusionOk="0">
                  <a:moveTo>
                    <a:pt x="2088477" y="49721"/>
                  </a:moveTo>
                  <a:cubicBezTo>
                    <a:pt x="1970273" y="-21533"/>
                    <a:pt x="1798338" y="-21533"/>
                    <a:pt x="1712371" y="84677"/>
                  </a:cubicBezTo>
                  <a:cubicBezTo>
                    <a:pt x="1685506" y="118287"/>
                    <a:pt x="1665358" y="162654"/>
                    <a:pt x="1626404" y="180131"/>
                  </a:cubicBezTo>
                  <a:cubicBezTo>
                    <a:pt x="1591480" y="194920"/>
                    <a:pt x="1551183" y="185509"/>
                    <a:pt x="1513572" y="177442"/>
                  </a:cubicBezTo>
                  <a:cubicBezTo>
                    <a:pt x="1368502" y="146521"/>
                    <a:pt x="1208657" y="151898"/>
                    <a:pt x="1085079" y="232564"/>
                  </a:cubicBezTo>
                  <a:cubicBezTo>
                    <a:pt x="961502" y="313230"/>
                    <a:pt x="887624" y="482629"/>
                    <a:pt x="949413" y="617072"/>
                  </a:cubicBezTo>
                  <a:cubicBezTo>
                    <a:pt x="962845" y="647994"/>
                    <a:pt x="982994" y="674882"/>
                    <a:pt x="995082" y="707149"/>
                  </a:cubicBezTo>
                  <a:cubicBezTo>
                    <a:pt x="1068960" y="903436"/>
                    <a:pt x="820462" y="1146778"/>
                    <a:pt x="952099" y="1308110"/>
                  </a:cubicBezTo>
                  <a:cubicBezTo>
                    <a:pt x="1020604" y="1391465"/>
                    <a:pt x="1158958" y="1383398"/>
                    <a:pt x="1240895" y="1313487"/>
                  </a:cubicBezTo>
                  <a:cubicBezTo>
                    <a:pt x="1321489" y="1243577"/>
                    <a:pt x="1353727" y="1130645"/>
                    <a:pt x="1359100" y="1023090"/>
                  </a:cubicBezTo>
                  <a:cubicBezTo>
                    <a:pt x="1364473" y="910158"/>
                    <a:pt x="1340294" y="787815"/>
                    <a:pt x="1255671" y="712527"/>
                  </a:cubicBezTo>
                  <a:cubicBezTo>
                    <a:pt x="1210000" y="672194"/>
                    <a:pt x="1148212" y="642616"/>
                    <a:pt x="1129406" y="584805"/>
                  </a:cubicBezTo>
                  <a:cubicBezTo>
                    <a:pt x="1098512" y="490695"/>
                    <a:pt x="1224776" y="404652"/>
                    <a:pt x="1318803" y="436918"/>
                  </a:cubicBezTo>
                  <a:cubicBezTo>
                    <a:pt x="1412830" y="469184"/>
                    <a:pt x="1463872" y="570017"/>
                    <a:pt x="1489393" y="665471"/>
                  </a:cubicBezTo>
                  <a:cubicBezTo>
                    <a:pt x="1561929" y="943769"/>
                    <a:pt x="1475961" y="1258366"/>
                    <a:pt x="1271790" y="1461375"/>
                  </a:cubicBezTo>
                  <a:cubicBezTo>
                    <a:pt x="1248955" y="1484230"/>
                    <a:pt x="1223433" y="1505741"/>
                    <a:pt x="1192538" y="1515152"/>
                  </a:cubicBezTo>
                  <a:cubicBezTo>
                    <a:pt x="1114631" y="1538008"/>
                    <a:pt x="1042096" y="1472131"/>
                    <a:pt x="973591" y="1427764"/>
                  </a:cubicBezTo>
                  <a:cubicBezTo>
                    <a:pt x="831207" y="1334998"/>
                    <a:pt x="636438" y="1326932"/>
                    <a:pt x="485996" y="1407598"/>
                  </a:cubicBezTo>
                  <a:cubicBezTo>
                    <a:pt x="440326" y="1290632"/>
                    <a:pt x="479280" y="1146778"/>
                    <a:pt x="577336" y="1068801"/>
                  </a:cubicBezTo>
                  <a:cubicBezTo>
                    <a:pt x="614947" y="1037879"/>
                    <a:pt x="661960" y="1016368"/>
                    <a:pt x="684795" y="973346"/>
                  </a:cubicBezTo>
                  <a:cubicBezTo>
                    <a:pt x="722406" y="904780"/>
                    <a:pt x="680766" y="816048"/>
                    <a:pt x="618976" y="767648"/>
                  </a:cubicBezTo>
                  <a:cubicBezTo>
                    <a:pt x="490026" y="665471"/>
                    <a:pt x="289883" y="685638"/>
                    <a:pt x="164962" y="793192"/>
                  </a:cubicBezTo>
                  <a:cubicBezTo>
                    <a:pt x="40041" y="900747"/>
                    <a:pt x="-12345" y="1075523"/>
                    <a:pt x="2431" y="1239544"/>
                  </a:cubicBezTo>
                  <a:cubicBezTo>
                    <a:pt x="17206" y="1403564"/>
                    <a:pt x="93771" y="1556830"/>
                    <a:pt x="190484" y="1689928"/>
                  </a:cubicBezTo>
                  <a:cubicBezTo>
                    <a:pt x="357045" y="1921171"/>
                    <a:pt x="601514" y="2108047"/>
                    <a:pt x="882251" y="2156446"/>
                  </a:cubicBezTo>
                  <a:cubicBezTo>
                    <a:pt x="919862" y="2163168"/>
                    <a:pt x="961502" y="2165857"/>
                    <a:pt x="993740" y="2147035"/>
                  </a:cubicBezTo>
                  <a:cubicBezTo>
                    <a:pt x="1025977" y="2128213"/>
                    <a:pt x="1043439" y="2093258"/>
                    <a:pt x="1062244" y="2060991"/>
                  </a:cubicBezTo>
                  <a:cubicBezTo>
                    <a:pt x="1113287" y="1973603"/>
                    <a:pt x="1187165" y="1901004"/>
                    <a:pt x="1275819" y="1851260"/>
                  </a:cubicBezTo>
                  <a:cubicBezTo>
                    <a:pt x="1320146" y="1825716"/>
                    <a:pt x="1367159" y="1806894"/>
                    <a:pt x="1406113" y="1773283"/>
                  </a:cubicBezTo>
                  <a:cubicBezTo>
                    <a:pt x="1467902" y="1720850"/>
                    <a:pt x="1497453" y="1640184"/>
                    <a:pt x="1524318" y="1563552"/>
                  </a:cubicBezTo>
                  <a:cubicBezTo>
                    <a:pt x="1607599" y="1328276"/>
                    <a:pt x="1690879" y="1093001"/>
                    <a:pt x="1774160" y="856380"/>
                  </a:cubicBezTo>
                  <a:cubicBezTo>
                    <a:pt x="1862814" y="869825"/>
                    <a:pt x="1884305" y="994857"/>
                    <a:pt x="1848038" y="1076868"/>
                  </a:cubicBezTo>
                  <a:cubicBezTo>
                    <a:pt x="1813114" y="1158878"/>
                    <a:pt x="1744608" y="1228788"/>
                    <a:pt x="1729833" y="1317521"/>
                  </a:cubicBezTo>
                  <a:cubicBezTo>
                    <a:pt x="1715058" y="1407598"/>
                    <a:pt x="1760727" y="1501708"/>
                    <a:pt x="1737892" y="1590440"/>
                  </a:cubicBezTo>
                  <a:cubicBezTo>
                    <a:pt x="1715058" y="1677828"/>
                    <a:pt x="1633120" y="1735639"/>
                    <a:pt x="1555212" y="1781350"/>
                  </a:cubicBezTo>
                  <a:cubicBezTo>
                    <a:pt x="1477305" y="1827060"/>
                    <a:pt x="1392681" y="1876805"/>
                    <a:pt x="1356413" y="1960159"/>
                  </a:cubicBezTo>
                  <a:cubicBezTo>
                    <a:pt x="1320146" y="2043514"/>
                    <a:pt x="1371189" y="2165857"/>
                    <a:pt x="1461186" y="2161824"/>
                  </a:cubicBezTo>
                  <a:cubicBezTo>
                    <a:pt x="1488050" y="2160479"/>
                    <a:pt x="1513572" y="2147035"/>
                    <a:pt x="1537750" y="2134935"/>
                  </a:cubicBezTo>
                  <a:cubicBezTo>
                    <a:pt x="1688193" y="2058303"/>
                    <a:pt x="1842665" y="1978981"/>
                    <a:pt x="1948781" y="1847227"/>
                  </a:cubicBezTo>
                  <a:cubicBezTo>
                    <a:pt x="2041464" y="1732950"/>
                    <a:pt x="2088477" y="1589096"/>
                    <a:pt x="2165042" y="1464064"/>
                  </a:cubicBezTo>
                  <a:cubicBezTo>
                    <a:pt x="2234890" y="1351132"/>
                    <a:pt x="2327573" y="1254332"/>
                    <a:pt x="2393392" y="1140056"/>
                  </a:cubicBezTo>
                  <a:cubicBezTo>
                    <a:pt x="2612340" y="760926"/>
                    <a:pt x="2459211" y="271553"/>
                    <a:pt x="2088477" y="4972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48" name="Google Shape;48;p3"/>
            <p:cNvGrpSpPr/>
            <p:nvPr/>
          </p:nvGrpSpPr>
          <p:grpSpPr>
            <a:xfrm>
              <a:off x="-125101" y="-1221909"/>
              <a:ext cx="4567267" cy="7109811"/>
              <a:chOff x="-125101" y="-1221909"/>
              <a:chExt cx="4567267" cy="7109811"/>
            </a:xfrm>
          </p:grpSpPr>
          <p:grpSp>
            <p:nvGrpSpPr>
              <p:cNvPr id="49" name="Google Shape;49;p3"/>
              <p:cNvGrpSpPr/>
              <p:nvPr/>
            </p:nvGrpSpPr>
            <p:grpSpPr>
              <a:xfrm>
                <a:off x="2502329" y="-1221909"/>
                <a:ext cx="1939837" cy="1944233"/>
                <a:chOff x="1770054" y="3336266"/>
                <a:chExt cx="1939837" cy="1944233"/>
              </a:xfrm>
            </p:grpSpPr>
            <p:sp>
              <p:nvSpPr>
                <p:cNvPr id="50" name="Google Shape;50;p3"/>
                <p:cNvSpPr/>
                <p:nvPr/>
              </p:nvSpPr>
              <p:spPr>
                <a:xfrm>
                  <a:off x="2019896" y="3462828"/>
                  <a:ext cx="1278761" cy="150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761" h="1505763" extrusionOk="0">
                      <a:moveTo>
                        <a:pt x="789823" y="613061"/>
                      </a:moveTo>
                      <a:cubicBezTo>
                        <a:pt x="953698" y="426185"/>
                        <a:pt x="1117573" y="239309"/>
                        <a:pt x="1278761" y="51088"/>
                      </a:cubicBezTo>
                      <a:cubicBezTo>
                        <a:pt x="1251897" y="32266"/>
                        <a:pt x="1225032" y="14788"/>
                        <a:pt x="1196824" y="0"/>
                      </a:cubicBezTo>
                      <a:cubicBezTo>
                        <a:pt x="1194137" y="2689"/>
                        <a:pt x="1191451" y="6722"/>
                        <a:pt x="1188765" y="9411"/>
                      </a:cubicBezTo>
                      <a:cubicBezTo>
                        <a:pt x="964444" y="286364"/>
                        <a:pt x="738780" y="564661"/>
                        <a:pt x="517146" y="845648"/>
                      </a:cubicBezTo>
                      <a:cubicBezTo>
                        <a:pt x="345212" y="1063445"/>
                        <a:pt x="171934" y="1281243"/>
                        <a:pt x="0" y="1499042"/>
                      </a:cubicBezTo>
                      <a:cubicBezTo>
                        <a:pt x="1343" y="1501730"/>
                        <a:pt x="4030" y="1503075"/>
                        <a:pt x="5373" y="1505764"/>
                      </a:cubicBezTo>
                      <a:cubicBezTo>
                        <a:pt x="261931" y="1203267"/>
                        <a:pt x="529235" y="911525"/>
                        <a:pt x="789823" y="61306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1" name="Google Shape;51;p3"/>
                <p:cNvSpPr/>
                <p:nvPr/>
              </p:nvSpPr>
              <p:spPr>
                <a:xfrm>
                  <a:off x="1802292" y="3336266"/>
                  <a:ext cx="1027576" cy="1254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576" h="1254540" extrusionOk="0">
                      <a:moveTo>
                        <a:pt x="25522" y="1230341"/>
                      </a:moveTo>
                      <a:cubicBezTo>
                        <a:pt x="323720" y="863311"/>
                        <a:pt x="623262" y="497626"/>
                        <a:pt x="922804" y="131940"/>
                      </a:cubicBezTo>
                      <a:cubicBezTo>
                        <a:pt x="957728" y="88918"/>
                        <a:pt x="992652" y="45897"/>
                        <a:pt x="1027576" y="4219"/>
                      </a:cubicBezTo>
                      <a:cubicBezTo>
                        <a:pt x="973847" y="-1158"/>
                        <a:pt x="920117" y="-1158"/>
                        <a:pt x="866388" y="2875"/>
                      </a:cubicBezTo>
                      <a:cubicBezTo>
                        <a:pt x="757585" y="164207"/>
                        <a:pt x="646097" y="322849"/>
                        <a:pt x="534608" y="482837"/>
                      </a:cubicBezTo>
                      <a:cubicBezTo>
                        <a:pt x="358644" y="734246"/>
                        <a:pt x="182680" y="985655"/>
                        <a:pt x="0" y="1233030"/>
                      </a:cubicBezTo>
                      <a:cubicBezTo>
                        <a:pt x="1343" y="1239752"/>
                        <a:pt x="4030" y="1247819"/>
                        <a:pt x="6716" y="1254541"/>
                      </a:cubicBezTo>
                      <a:cubicBezTo>
                        <a:pt x="13432" y="1245130"/>
                        <a:pt x="18805" y="1238408"/>
                        <a:pt x="25522" y="123034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2" name="Google Shape;52;p3"/>
                <p:cNvSpPr/>
                <p:nvPr/>
              </p:nvSpPr>
              <p:spPr>
                <a:xfrm>
                  <a:off x="1877513" y="3355274"/>
                  <a:ext cx="1250553" cy="14573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0553" h="1457363" extrusionOk="0">
                      <a:moveTo>
                        <a:pt x="1250553" y="61844"/>
                      </a:moveTo>
                      <a:cubicBezTo>
                        <a:pt x="1187421" y="33611"/>
                        <a:pt x="1120259" y="13444"/>
                        <a:pt x="1053098" y="0"/>
                      </a:cubicBezTo>
                      <a:cubicBezTo>
                        <a:pt x="796539" y="337452"/>
                        <a:pt x="537295" y="673560"/>
                        <a:pt x="286109" y="1015046"/>
                      </a:cubicBezTo>
                      <a:cubicBezTo>
                        <a:pt x="190740" y="1144111"/>
                        <a:pt x="92683" y="1271832"/>
                        <a:pt x="0" y="1403587"/>
                      </a:cubicBezTo>
                      <a:cubicBezTo>
                        <a:pt x="9403" y="1422409"/>
                        <a:pt x="20149" y="1439886"/>
                        <a:pt x="30894" y="1457364"/>
                      </a:cubicBezTo>
                      <a:cubicBezTo>
                        <a:pt x="55073" y="1429131"/>
                        <a:pt x="77908" y="1400898"/>
                        <a:pt x="102086" y="1372665"/>
                      </a:cubicBezTo>
                      <a:cubicBezTo>
                        <a:pt x="427149" y="982779"/>
                        <a:pt x="765645" y="606338"/>
                        <a:pt x="1102797" y="227209"/>
                      </a:cubicBezTo>
                      <a:cubicBezTo>
                        <a:pt x="1151154" y="172087"/>
                        <a:pt x="1200854" y="116965"/>
                        <a:pt x="1250553" y="6184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3" name="Google Shape;53;p3"/>
                <p:cNvSpPr/>
                <p:nvPr/>
              </p:nvSpPr>
              <p:spPr>
                <a:xfrm>
                  <a:off x="1770054" y="3383507"/>
                  <a:ext cx="667588" cy="8631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588" h="863125" extrusionOk="0">
                      <a:moveTo>
                        <a:pt x="373420" y="383163"/>
                      </a:moveTo>
                      <a:cubicBezTo>
                        <a:pt x="472819" y="256787"/>
                        <a:pt x="569532" y="129066"/>
                        <a:pt x="667589" y="0"/>
                      </a:cubicBezTo>
                      <a:cubicBezTo>
                        <a:pt x="533265" y="43022"/>
                        <a:pt x="407001" y="116966"/>
                        <a:pt x="298199" y="220487"/>
                      </a:cubicBezTo>
                      <a:cubicBezTo>
                        <a:pt x="288796" y="237965"/>
                        <a:pt x="280736" y="258131"/>
                        <a:pt x="269991" y="275609"/>
                      </a:cubicBezTo>
                      <a:cubicBezTo>
                        <a:pt x="256558" y="297120"/>
                        <a:pt x="240439" y="317286"/>
                        <a:pt x="227007" y="337452"/>
                      </a:cubicBezTo>
                      <a:cubicBezTo>
                        <a:pt x="182680" y="399296"/>
                        <a:pt x="145070" y="463829"/>
                        <a:pt x="107459" y="529706"/>
                      </a:cubicBezTo>
                      <a:cubicBezTo>
                        <a:pt x="89997" y="560628"/>
                        <a:pt x="69848" y="586172"/>
                        <a:pt x="48357" y="613061"/>
                      </a:cubicBezTo>
                      <a:cubicBezTo>
                        <a:pt x="21492" y="693727"/>
                        <a:pt x="4030" y="778426"/>
                        <a:pt x="0" y="863125"/>
                      </a:cubicBezTo>
                      <a:cubicBezTo>
                        <a:pt x="124921" y="703138"/>
                        <a:pt x="248499" y="543151"/>
                        <a:pt x="373420" y="383163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4" name="Google Shape;54;p3"/>
                <p:cNvSpPr/>
                <p:nvPr/>
              </p:nvSpPr>
              <p:spPr>
                <a:xfrm>
                  <a:off x="3035383" y="4432163"/>
                  <a:ext cx="667588" cy="802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588" h="802625" extrusionOk="0">
                      <a:moveTo>
                        <a:pt x="591024" y="274264"/>
                      </a:moveTo>
                      <a:cubicBezTo>
                        <a:pt x="629978" y="186876"/>
                        <a:pt x="655499" y="94110"/>
                        <a:pt x="667589" y="0"/>
                      </a:cubicBezTo>
                      <a:cubicBezTo>
                        <a:pt x="642067" y="32267"/>
                        <a:pt x="615202" y="63188"/>
                        <a:pt x="589681" y="95455"/>
                      </a:cubicBezTo>
                      <a:cubicBezTo>
                        <a:pt x="398941" y="326697"/>
                        <a:pt x="210888" y="560628"/>
                        <a:pt x="13432" y="786493"/>
                      </a:cubicBezTo>
                      <a:cubicBezTo>
                        <a:pt x="9403" y="791871"/>
                        <a:pt x="4030" y="797248"/>
                        <a:pt x="0" y="802626"/>
                      </a:cubicBezTo>
                      <a:cubicBezTo>
                        <a:pt x="38954" y="790526"/>
                        <a:pt x="77908" y="775737"/>
                        <a:pt x="114175" y="758260"/>
                      </a:cubicBezTo>
                      <a:cubicBezTo>
                        <a:pt x="271334" y="595584"/>
                        <a:pt x="431179" y="435596"/>
                        <a:pt x="591024" y="27426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5" name="Google Shape;55;p3"/>
                <p:cNvSpPr/>
                <p:nvPr/>
              </p:nvSpPr>
              <p:spPr>
                <a:xfrm>
                  <a:off x="2206606" y="3565005"/>
                  <a:ext cx="1316371" cy="15891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6371" h="1589118" extrusionOk="0">
                      <a:moveTo>
                        <a:pt x="1316372" y="168054"/>
                      </a:moveTo>
                      <a:cubicBezTo>
                        <a:pt x="1288164" y="129066"/>
                        <a:pt x="1255926" y="91422"/>
                        <a:pt x="1219659" y="56466"/>
                      </a:cubicBezTo>
                      <a:cubicBezTo>
                        <a:pt x="1199510" y="36300"/>
                        <a:pt x="1179362" y="18822"/>
                        <a:pt x="1159213" y="0"/>
                      </a:cubicBezTo>
                      <a:cubicBezTo>
                        <a:pt x="924147" y="329386"/>
                        <a:pt x="682364" y="653394"/>
                        <a:pt x="437895" y="976058"/>
                      </a:cubicBezTo>
                      <a:cubicBezTo>
                        <a:pt x="291482" y="1169656"/>
                        <a:pt x="145070" y="1363254"/>
                        <a:pt x="0" y="1556852"/>
                      </a:cubicBezTo>
                      <a:cubicBezTo>
                        <a:pt x="17462" y="1567608"/>
                        <a:pt x="34924" y="1578363"/>
                        <a:pt x="52386" y="1589119"/>
                      </a:cubicBezTo>
                      <a:cubicBezTo>
                        <a:pt x="222977" y="1394176"/>
                        <a:pt x="390882" y="1196544"/>
                        <a:pt x="562816" y="1002946"/>
                      </a:cubicBezTo>
                      <a:cubicBezTo>
                        <a:pt x="811315" y="721960"/>
                        <a:pt x="1062500" y="445007"/>
                        <a:pt x="1316372" y="16805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6" name="Google Shape;56;p3"/>
                <p:cNvSpPr/>
                <p:nvPr/>
              </p:nvSpPr>
              <p:spPr>
                <a:xfrm>
                  <a:off x="2754646" y="4141766"/>
                  <a:ext cx="955245" cy="11387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5245" h="1138733" extrusionOk="0">
                      <a:moveTo>
                        <a:pt x="0" y="1138734"/>
                      </a:moveTo>
                      <a:cubicBezTo>
                        <a:pt x="18805" y="1138734"/>
                        <a:pt x="37611" y="1137389"/>
                        <a:pt x="56416" y="1136045"/>
                      </a:cubicBezTo>
                      <a:cubicBezTo>
                        <a:pt x="255215" y="924969"/>
                        <a:pt x="455357" y="715238"/>
                        <a:pt x="652813" y="502817"/>
                      </a:cubicBezTo>
                      <a:cubicBezTo>
                        <a:pt x="753556" y="395263"/>
                        <a:pt x="854299" y="287708"/>
                        <a:pt x="955041" y="180154"/>
                      </a:cubicBezTo>
                      <a:cubicBezTo>
                        <a:pt x="956384" y="119654"/>
                        <a:pt x="951012" y="60499"/>
                        <a:pt x="941609" y="0"/>
                      </a:cubicBezTo>
                      <a:cubicBezTo>
                        <a:pt x="719975" y="275609"/>
                        <a:pt x="496998" y="548528"/>
                        <a:pt x="268647" y="818759"/>
                      </a:cubicBezTo>
                      <a:cubicBezTo>
                        <a:pt x="178651" y="926313"/>
                        <a:pt x="89997" y="1032523"/>
                        <a:pt x="0" y="113873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57" name="Google Shape;57;p3"/>
                <p:cNvSpPr/>
                <p:nvPr/>
              </p:nvSpPr>
              <p:spPr>
                <a:xfrm>
                  <a:off x="2508834" y="3868847"/>
                  <a:ext cx="1167272" cy="13928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7272" h="1392831" extrusionOk="0">
                      <a:moveTo>
                        <a:pt x="663559" y="716582"/>
                      </a:moveTo>
                      <a:cubicBezTo>
                        <a:pt x="832807" y="539117"/>
                        <a:pt x="1000711" y="358963"/>
                        <a:pt x="1167273" y="178810"/>
                      </a:cubicBezTo>
                      <a:cubicBezTo>
                        <a:pt x="1149811" y="116966"/>
                        <a:pt x="1126976" y="57811"/>
                        <a:pt x="1097424" y="0"/>
                      </a:cubicBezTo>
                      <a:cubicBezTo>
                        <a:pt x="936236" y="205698"/>
                        <a:pt x="772361" y="410052"/>
                        <a:pt x="609829" y="614406"/>
                      </a:cubicBezTo>
                      <a:cubicBezTo>
                        <a:pt x="405657" y="869848"/>
                        <a:pt x="202829" y="1127978"/>
                        <a:pt x="0" y="1384765"/>
                      </a:cubicBezTo>
                      <a:cubicBezTo>
                        <a:pt x="13432" y="1387454"/>
                        <a:pt x="25522" y="1390142"/>
                        <a:pt x="38954" y="1392831"/>
                      </a:cubicBezTo>
                      <a:cubicBezTo>
                        <a:pt x="243126" y="1164278"/>
                        <a:pt x="451328" y="939758"/>
                        <a:pt x="663559" y="716582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58" name="Google Shape;58;p3"/>
              <p:cNvGrpSpPr/>
              <p:nvPr/>
            </p:nvGrpSpPr>
            <p:grpSpPr>
              <a:xfrm>
                <a:off x="-125101" y="4169719"/>
                <a:ext cx="1714977" cy="1718183"/>
                <a:chOff x="6050949" y="622044"/>
                <a:chExt cx="1714977" cy="1718183"/>
              </a:xfrm>
            </p:grpSpPr>
            <p:sp>
              <p:nvSpPr>
                <p:cNvPr id="59" name="Google Shape;59;p3"/>
                <p:cNvSpPr/>
                <p:nvPr/>
              </p:nvSpPr>
              <p:spPr>
                <a:xfrm>
                  <a:off x="6503620" y="623388"/>
                  <a:ext cx="298198" cy="2018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8198" h="201842" extrusionOk="0">
                      <a:moveTo>
                        <a:pt x="213575" y="120999"/>
                      </a:moveTo>
                      <a:cubicBezTo>
                        <a:pt x="243126" y="82010"/>
                        <a:pt x="269991" y="40333"/>
                        <a:pt x="298199" y="0"/>
                      </a:cubicBezTo>
                      <a:cubicBezTo>
                        <a:pt x="192083" y="13444"/>
                        <a:pt x="91340" y="45711"/>
                        <a:pt x="0" y="92766"/>
                      </a:cubicBezTo>
                      <a:cubicBezTo>
                        <a:pt x="14776" y="122343"/>
                        <a:pt x="30895" y="150576"/>
                        <a:pt x="53729" y="173432"/>
                      </a:cubicBezTo>
                      <a:cubicBezTo>
                        <a:pt x="118205" y="239309"/>
                        <a:pt x="171935" y="177465"/>
                        <a:pt x="213575" y="120999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60" name="Google Shape;60;p3"/>
                <p:cNvSpPr/>
                <p:nvPr/>
              </p:nvSpPr>
              <p:spPr>
                <a:xfrm>
                  <a:off x="6221540" y="622044"/>
                  <a:ext cx="993995" cy="555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3995" h="555282" extrusionOk="0">
                      <a:moveTo>
                        <a:pt x="0" y="332075"/>
                      </a:moveTo>
                      <a:cubicBezTo>
                        <a:pt x="9403" y="419463"/>
                        <a:pt x="88654" y="496095"/>
                        <a:pt x="173278" y="525673"/>
                      </a:cubicBezTo>
                      <a:cubicBezTo>
                        <a:pt x="303572" y="572728"/>
                        <a:pt x="467447" y="559284"/>
                        <a:pt x="596397" y="516262"/>
                      </a:cubicBezTo>
                      <a:cubicBezTo>
                        <a:pt x="741467" y="467862"/>
                        <a:pt x="801912" y="357619"/>
                        <a:pt x="869074" y="229898"/>
                      </a:cubicBezTo>
                      <a:cubicBezTo>
                        <a:pt x="903999" y="164021"/>
                        <a:pt x="944296" y="103521"/>
                        <a:pt x="993995" y="52433"/>
                      </a:cubicBezTo>
                      <a:cubicBezTo>
                        <a:pt x="925490" y="25544"/>
                        <a:pt x="852955" y="8067"/>
                        <a:pt x="776391" y="0"/>
                      </a:cubicBezTo>
                      <a:cubicBezTo>
                        <a:pt x="728034" y="71255"/>
                        <a:pt x="681021" y="145199"/>
                        <a:pt x="629978" y="215109"/>
                      </a:cubicBezTo>
                      <a:cubicBezTo>
                        <a:pt x="564159" y="305186"/>
                        <a:pt x="470133" y="395263"/>
                        <a:pt x="347899" y="367030"/>
                      </a:cubicBezTo>
                      <a:cubicBezTo>
                        <a:pt x="244469" y="344175"/>
                        <a:pt x="193426" y="264853"/>
                        <a:pt x="147756" y="182843"/>
                      </a:cubicBezTo>
                      <a:cubicBezTo>
                        <a:pt x="92684" y="225864"/>
                        <a:pt x="42984" y="276953"/>
                        <a:pt x="0" y="332075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61" name="Google Shape;61;p3"/>
                <p:cNvSpPr/>
                <p:nvPr/>
              </p:nvSpPr>
              <p:spPr>
                <a:xfrm>
                  <a:off x="6057665" y="1383866"/>
                  <a:ext cx="1708261" cy="757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61" h="757632" extrusionOk="0">
                      <a:moveTo>
                        <a:pt x="1707254" y="47526"/>
                      </a:moveTo>
                      <a:cubicBezTo>
                        <a:pt x="1687105" y="44837"/>
                        <a:pt x="1666957" y="40804"/>
                        <a:pt x="1646808" y="38115"/>
                      </a:cubicBezTo>
                      <a:cubicBezTo>
                        <a:pt x="1515171" y="15260"/>
                        <a:pt x="1341893" y="-43895"/>
                        <a:pt x="1229062" y="56937"/>
                      </a:cubicBezTo>
                      <a:cubicBezTo>
                        <a:pt x="1135035" y="141636"/>
                        <a:pt x="1096081" y="272046"/>
                        <a:pt x="995338" y="354056"/>
                      </a:cubicBezTo>
                      <a:cubicBezTo>
                        <a:pt x="887880" y="441445"/>
                        <a:pt x="748183" y="477744"/>
                        <a:pt x="611173" y="472366"/>
                      </a:cubicBezTo>
                      <a:cubicBezTo>
                        <a:pt x="393568" y="464300"/>
                        <a:pt x="169248" y="391701"/>
                        <a:pt x="0" y="253224"/>
                      </a:cubicBezTo>
                      <a:cubicBezTo>
                        <a:pt x="14776" y="331201"/>
                        <a:pt x="38954" y="406489"/>
                        <a:pt x="73878" y="476400"/>
                      </a:cubicBezTo>
                      <a:cubicBezTo>
                        <a:pt x="194769" y="515388"/>
                        <a:pt x="307601" y="585299"/>
                        <a:pt x="419090" y="648487"/>
                      </a:cubicBezTo>
                      <a:cubicBezTo>
                        <a:pt x="510430" y="699576"/>
                        <a:pt x="608486" y="753353"/>
                        <a:pt x="714602" y="757386"/>
                      </a:cubicBezTo>
                      <a:cubicBezTo>
                        <a:pt x="850269" y="762764"/>
                        <a:pt x="964444" y="679409"/>
                        <a:pt x="1055784" y="586643"/>
                      </a:cubicBezTo>
                      <a:cubicBezTo>
                        <a:pt x="1212943" y="428000"/>
                        <a:pt x="1418458" y="94581"/>
                        <a:pt x="1687105" y="196758"/>
                      </a:cubicBezTo>
                      <a:cubicBezTo>
                        <a:pt x="1691135" y="198102"/>
                        <a:pt x="1696508" y="200791"/>
                        <a:pt x="1700538" y="202136"/>
                      </a:cubicBezTo>
                      <a:cubicBezTo>
                        <a:pt x="1704567" y="167180"/>
                        <a:pt x="1707254" y="132225"/>
                        <a:pt x="1707254" y="95926"/>
                      </a:cubicBezTo>
                      <a:cubicBezTo>
                        <a:pt x="1708597" y="78448"/>
                        <a:pt x="1708597" y="63659"/>
                        <a:pt x="1707254" y="4752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62" name="Google Shape;62;p3"/>
                <p:cNvSpPr/>
                <p:nvPr/>
              </p:nvSpPr>
              <p:spPr>
                <a:xfrm>
                  <a:off x="6050949" y="756487"/>
                  <a:ext cx="1688448" cy="9357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448" h="935722" extrusionOk="0">
                      <a:moveTo>
                        <a:pt x="247155" y="840270"/>
                      </a:moveTo>
                      <a:cubicBezTo>
                        <a:pt x="381479" y="899425"/>
                        <a:pt x="544011" y="947824"/>
                        <a:pt x="691767" y="933036"/>
                      </a:cubicBezTo>
                      <a:cubicBezTo>
                        <a:pt x="838180" y="919591"/>
                        <a:pt x="925490" y="841614"/>
                        <a:pt x="1002055" y="723304"/>
                      </a:cubicBezTo>
                      <a:cubicBezTo>
                        <a:pt x="1065187" y="623816"/>
                        <a:pt x="1133692" y="531051"/>
                        <a:pt x="1247867" y="488029"/>
                      </a:cubicBezTo>
                      <a:cubicBezTo>
                        <a:pt x="1374131" y="440974"/>
                        <a:pt x="1513828" y="470551"/>
                        <a:pt x="1641435" y="496095"/>
                      </a:cubicBezTo>
                      <a:cubicBezTo>
                        <a:pt x="1656211" y="498784"/>
                        <a:pt x="1672330" y="501473"/>
                        <a:pt x="1688448" y="504162"/>
                      </a:cubicBezTo>
                      <a:cubicBezTo>
                        <a:pt x="1633376" y="294431"/>
                        <a:pt x="1501738" y="115621"/>
                        <a:pt x="1324431" y="0"/>
                      </a:cubicBezTo>
                      <a:cubicBezTo>
                        <a:pt x="1288164" y="24200"/>
                        <a:pt x="1255926" y="53777"/>
                        <a:pt x="1230405" y="94110"/>
                      </a:cubicBezTo>
                      <a:cubicBezTo>
                        <a:pt x="1160556" y="198976"/>
                        <a:pt x="1121603" y="321319"/>
                        <a:pt x="1031606" y="411396"/>
                      </a:cubicBezTo>
                      <a:cubicBezTo>
                        <a:pt x="858328" y="583483"/>
                        <a:pt x="539981" y="623816"/>
                        <a:pt x="314317" y="553906"/>
                      </a:cubicBezTo>
                      <a:cubicBezTo>
                        <a:pt x="214918" y="522984"/>
                        <a:pt x="126264" y="455762"/>
                        <a:pt x="69848" y="372408"/>
                      </a:cubicBezTo>
                      <a:cubicBezTo>
                        <a:pt x="33581" y="453073"/>
                        <a:pt x="9402" y="540462"/>
                        <a:pt x="0" y="631883"/>
                      </a:cubicBezTo>
                      <a:cubicBezTo>
                        <a:pt x="61789" y="720615"/>
                        <a:pt x="141040" y="793215"/>
                        <a:pt x="247155" y="840270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63" name="Google Shape;63;p3"/>
                <p:cNvSpPr/>
                <p:nvPr/>
              </p:nvSpPr>
              <p:spPr>
                <a:xfrm>
                  <a:off x="6381386" y="1731225"/>
                  <a:ext cx="1340550" cy="609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0550" h="609002" extrusionOk="0">
                      <a:moveTo>
                        <a:pt x="1000711" y="186851"/>
                      </a:moveTo>
                      <a:cubicBezTo>
                        <a:pt x="820717" y="385827"/>
                        <a:pt x="625948" y="610347"/>
                        <a:pt x="329093" y="565981"/>
                      </a:cubicBezTo>
                      <a:cubicBezTo>
                        <a:pt x="208202" y="547159"/>
                        <a:pt x="103429" y="490692"/>
                        <a:pt x="0" y="430193"/>
                      </a:cubicBezTo>
                      <a:cubicBezTo>
                        <a:pt x="145069" y="541781"/>
                        <a:pt x="326406" y="609002"/>
                        <a:pt x="523862" y="609002"/>
                      </a:cubicBezTo>
                      <a:cubicBezTo>
                        <a:pt x="903998" y="609002"/>
                        <a:pt x="1226375" y="362971"/>
                        <a:pt x="1340550" y="20141"/>
                      </a:cubicBezTo>
                      <a:cubicBezTo>
                        <a:pt x="1208913" y="-53803"/>
                        <a:pt x="1085335" y="92741"/>
                        <a:pt x="1000711" y="186851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</p:grpSp>
      <p:grpSp>
        <p:nvGrpSpPr>
          <p:cNvPr id="64" name="Google Shape;64;p3"/>
          <p:cNvGrpSpPr/>
          <p:nvPr/>
        </p:nvGrpSpPr>
        <p:grpSpPr>
          <a:xfrm>
            <a:off x="-2174631" y="-1737526"/>
            <a:ext cx="15437889" cy="9359041"/>
            <a:chOff x="-1630974" y="-1303145"/>
            <a:chExt cx="11578417" cy="7019281"/>
          </a:xfrm>
        </p:grpSpPr>
        <p:sp>
          <p:nvSpPr>
            <p:cNvPr id="65" name="Google Shape;65;p3"/>
            <p:cNvSpPr/>
            <p:nvPr/>
          </p:nvSpPr>
          <p:spPr>
            <a:xfrm rot="8100000">
              <a:off x="6914861" y="-570402"/>
              <a:ext cx="2812701" cy="1786976"/>
            </a:xfrm>
            <a:custGeom>
              <a:avLst/>
              <a:gdLst/>
              <a:ahLst/>
              <a:cxnLst/>
              <a:rect l="l" t="t" r="r" b="b"/>
              <a:pathLst>
                <a:path w="2811138" h="1785983" extrusionOk="0">
                  <a:moveTo>
                    <a:pt x="1258301" y="258507"/>
                  </a:moveTo>
                  <a:cubicBezTo>
                    <a:pt x="1113230" y="165741"/>
                    <a:pt x="997712" y="-19790"/>
                    <a:pt x="827121" y="1721"/>
                  </a:cubicBezTo>
                  <a:cubicBezTo>
                    <a:pt x="639068" y="25920"/>
                    <a:pt x="583996" y="273296"/>
                    <a:pt x="440269" y="395639"/>
                  </a:cubicBezTo>
                  <a:cubicBezTo>
                    <a:pt x="322064" y="496472"/>
                    <a:pt x="139384" y="515294"/>
                    <a:pt x="49387" y="643015"/>
                  </a:cubicBezTo>
                  <a:cubicBezTo>
                    <a:pt x="-17774" y="738469"/>
                    <a:pt x="-11058" y="870224"/>
                    <a:pt x="37298" y="976434"/>
                  </a:cubicBezTo>
                  <a:cubicBezTo>
                    <a:pt x="85654" y="1082644"/>
                    <a:pt x="167592" y="1168688"/>
                    <a:pt x="249529" y="1252042"/>
                  </a:cubicBezTo>
                  <a:cubicBezTo>
                    <a:pt x="276394" y="1278931"/>
                    <a:pt x="304602" y="1307164"/>
                    <a:pt x="340869" y="1319264"/>
                  </a:cubicBezTo>
                  <a:cubicBezTo>
                    <a:pt x="429523" y="1346153"/>
                    <a:pt x="511460" y="1262798"/>
                    <a:pt x="600115" y="1234565"/>
                  </a:cubicBezTo>
                  <a:cubicBezTo>
                    <a:pt x="778765" y="1178099"/>
                    <a:pt x="942640" y="1347497"/>
                    <a:pt x="1051442" y="1500762"/>
                  </a:cubicBezTo>
                  <a:cubicBezTo>
                    <a:pt x="1160244" y="1652683"/>
                    <a:pt x="1317402" y="1826115"/>
                    <a:pt x="1498739" y="1777715"/>
                  </a:cubicBezTo>
                  <a:cubicBezTo>
                    <a:pt x="1670674" y="1732005"/>
                    <a:pt x="1744552" y="1507484"/>
                    <a:pt x="1915143" y="1456396"/>
                  </a:cubicBezTo>
                  <a:cubicBezTo>
                    <a:pt x="2122002" y="1394552"/>
                    <a:pt x="2318114" y="1623106"/>
                    <a:pt x="2531689" y="1602939"/>
                  </a:cubicBezTo>
                  <a:cubicBezTo>
                    <a:pt x="2729145" y="1585461"/>
                    <a:pt x="2851379" y="1344808"/>
                    <a:pt x="2798992" y="1153899"/>
                  </a:cubicBezTo>
                  <a:cubicBezTo>
                    <a:pt x="2746607" y="961645"/>
                    <a:pt x="2571986" y="825857"/>
                    <a:pt x="2386619" y="755947"/>
                  </a:cubicBezTo>
                  <a:cubicBezTo>
                    <a:pt x="2359755" y="745192"/>
                    <a:pt x="2332890" y="735781"/>
                    <a:pt x="2312741" y="715614"/>
                  </a:cubicBezTo>
                  <a:cubicBezTo>
                    <a:pt x="2276474" y="676626"/>
                    <a:pt x="2285877" y="614782"/>
                    <a:pt x="2293936" y="562349"/>
                  </a:cubicBezTo>
                  <a:cubicBezTo>
                    <a:pt x="2315427" y="429250"/>
                    <a:pt x="2318114" y="281363"/>
                    <a:pt x="2238863" y="171119"/>
                  </a:cubicBezTo>
                  <a:cubicBezTo>
                    <a:pt x="1998424" y="-167678"/>
                    <a:pt x="1612915" y="485716"/>
                    <a:pt x="1258301" y="25850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6" name="Google Shape;66;p3"/>
            <p:cNvSpPr/>
            <p:nvPr/>
          </p:nvSpPr>
          <p:spPr>
            <a:xfrm rot="-7421404">
              <a:off x="-1106589" y="-345439"/>
              <a:ext cx="2172069" cy="2422920"/>
            </a:xfrm>
            <a:custGeom>
              <a:avLst/>
              <a:gdLst/>
              <a:ahLst/>
              <a:cxnLst/>
              <a:rect l="l" t="t" r="r" b="b"/>
              <a:pathLst>
                <a:path w="2170896" h="2421611" extrusionOk="0">
                  <a:moveTo>
                    <a:pt x="227233" y="412741"/>
                  </a:moveTo>
                  <a:cubicBezTo>
                    <a:pt x="145295" y="572728"/>
                    <a:pt x="-41414" y="833548"/>
                    <a:pt x="8286" y="1060757"/>
                  </a:cubicBezTo>
                  <a:cubicBezTo>
                    <a:pt x="60672" y="1293343"/>
                    <a:pt x="327976" y="1302754"/>
                    <a:pt x="440807" y="1433164"/>
                  </a:cubicBezTo>
                  <a:cubicBezTo>
                    <a:pt x="538864" y="1547441"/>
                    <a:pt x="540207" y="1712806"/>
                    <a:pt x="623488" y="1862038"/>
                  </a:cubicBezTo>
                  <a:cubicBezTo>
                    <a:pt x="804825" y="2184702"/>
                    <a:pt x="1163470" y="2393089"/>
                    <a:pt x="1449579" y="2419977"/>
                  </a:cubicBezTo>
                  <a:cubicBezTo>
                    <a:pt x="1649721" y="2438800"/>
                    <a:pt x="1825685" y="2289568"/>
                    <a:pt x="2024484" y="2254612"/>
                  </a:cubicBezTo>
                  <a:cubicBezTo>
                    <a:pt x="2064781" y="2247890"/>
                    <a:pt x="2115824" y="2238479"/>
                    <a:pt x="2170897" y="2229068"/>
                  </a:cubicBezTo>
                  <a:lnTo>
                    <a:pt x="2170897" y="0"/>
                  </a:lnTo>
                  <a:lnTo>
                    <a:pt x="384392" y="0"/>
                  </a:lnTo>
                  <a:cubicBezTo>
                    <a:pt x="353497" y="139821"/>
                    <a:pt x="297082" y="275609"/>
                    <a:pt x="227233" y="41274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67" name="Google Shape;67;p3"/>
            <p:cNvSpPr/>
            <p:nvPr/>
          </p:nvSpPr>
          <p:spPr>
            <a:xfrm rot="10584884">
              <a:off x="3400140" y="4187497"/>
              <a:ext cx="3146081" cy="1431671"/>
            </a:xfrm>
            <a:custGeom>
              <a:avLst/>
              <a:gdLst/>
              <a:ahLst/>
              <a:cxnLst/>
              <a:rect l="l" t="t" r="r" b="b"/>
              <a:pathLst>
                <a:path w="3147793" h="1432450" extrusionOk="0">
                  <a:moveTo>
                    <a:pt x="5" y="0"/>
                  </a:moveTo>
                  <a:cubicBezTo>
                    <a:pt x="2095" y="60948"/>
                    <a:pt x="4029" y="117787"/>
                    <a:pt x="7248" y="166108"/>
                  </a:cubicBezTo>
                  <a:cubicBezTo>
                    <a:pt x="29386" y="498514"/>
                    <a:pt x="91176" y="997120"/>
                    <a:pt x="279439" y="1120824"/>
                  </a:cubicBezTo>
                  <a:cubicBezTo>
                    <a:pt x="428055" y="1218478"/>
                    <a:pt x="537675" y="984218"/>
                    <a:pt x="670878" y="1078596"/>
                  </a:cubicBezTo>
                  <a:cubicBezTo>
                    <a:pt x="761504" y="1142806"/>
                    <a:pt x="825150" y="1304908"/>
                    <a:pt x="906947" y="1373723"/>
                  </a:cubicBezTo>
                  <a:cubicBezTo>
                    <a:pt x="1052507" y="1496183"/>
                    <a:pt x="1363613" y="1443288"/>
                    <a:pt x="1394255" y="1060306"/>
                  </a:cubicBezTo>
                  <a:cubicBezTo>
                    <a:pt x="1413108" y="824675"/>
                    <a:pt x="1190755" y="687312"/>
                    <a:pt x="1259001" y="469483"/>
                  </a:cubicBezTo>
                  <a:cubicBezTo>
                    <a:pt x="1341121" y="207363"/>
                    <a:pt x="1572647" y="474074"/>
                    <a:pt x="1644740" y="604519"/>
                  </a:cubicBezTo>
                  <a:cubicBezTo>
                    <a:pt x="1781519" y="852008"/>
                    <a:pt x="1906539" y="966060"/>
                    <a:pt x="2075133" y="694563"/>
                  </a:cubicBezTo>
                  <a:cubicBezTo>
                    <a:pt x="2154300" y="567074"/>
                    <a:pt x="2290772" y="416377"/>
                    <a:pt x="2458298" y="458812"/>
                  </a:cubicBezTo>
                  <a:cubicBezTo>
                    <a:pt x="2596413" y="493799"/>
                    <a:pt x="2656130" y="606644"/>
                    <a:pt x="2704667" y="729647"/>
                  </a:cubicBezTo>
                  <a:cubicBezTo>
                    <a:pt x="2743050" y="826923"/>
                    <a:pt x="2809757" y="868433"/>
                    <a:pt x="2928732" y="892891"/>
                  </a:cubicBezTo>
                  <a:cubicBezTo>
                    <a:pt x="3109223" y="929997"/>
                    <a:pt x="3127813" y="753080"/>
                    <a:pt x="3139828" y="643479"/>
                  </a:cubicBezTo>
                  <a:cubicBezTo>
                    <a:pt x="3159032" y="468291"/>
                    <a:pt x="3137743" y="292715"/>
                    <a:pt x="3135853" y="117323"/>
                  </a:cubicBezTo>
                  <a:cubicBezTo>
                    <a:pt x="3135414" y="76647"/>
                    <a:pt x="3136034" y="37879"/>
                    <a:pt x="313718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68" name="Google Shape;68;p3"/>
          <p:cNvSpPr/>
          <p:nvPr/>
        </p:nvSpPr>
        <p:spPr>
          <a:xfrm>
            <a:off x="-727042" y="1918609"/>
            <a:ext cx="1399295" cy="1508976"/>
          </a:xfrm>
          <a:custGeom>
            <a:avLst/>
            <a:gdLst/>
            <a:ahLst/>
            <a:cxnLst/>
            <a:rect l="l" t="t" r="r" b="b"/>
            <a:pathLst>
              <a:path w="1049471" h="1131732" extrusionOk="0">
                <a:moveTo>
                  <a:pt x="483270" y="1131779"/>
                </a:moveTo>
                <a:cubicBezTo>
                  <a:pt x="398271" y="1131812"/>
                  <a:pt x="314787" y="1109289"/>
                  <a:pt x="241351" y="1066512"/>
                </a:cubicBezTo>
                <a:cubicBezTo>
                  <a:pt x="139738" y="1007639"/>
                  <a:pt x="47451" y="845238"/>
                  <a:pt x="16932" y="722241"/>
                </a:cubicBezTo>
                <a:cubicBezTo>
                  <a:pt x="-9815" y="614425"/>
                  <a:pt x="-4913" y="468503"/>
                  <a:pt x="31922" y="276131"/>
                </a:cubicBezTo>
                <a:cubicBezTo>
                  <a:pt x="48929" y="187298"/>
                  <a:pt x="61218" y="123116"/>
                  <a:pt x="157323" y="85051"/>
                </a:cubicBezTo>
                <a:cubicBezTo>
                  <a:pt x="284581" y="34641"/>
                  <a:pt x="476122" y="69680"/>
                  <a:pt x="587766" y="132654"/>
                </a:cubicBezTo>
                <a:cubicBezTo>
                  <a:pt x="676598" y="182753"/>
                  <a:pt x="761012" y="306345"/>
                  <a:pt x="793052" y="433200"/>
                </a:cubicBezTo>
                <a:cubicBezTo>
                  <a:pt x="817148" y="528615"/>
                  <a:pt x="809042" y="615044"/>
                  <a:pt x="770230" y="676572"/>
                </a:cubicBezTo>
                <a:cubicBezTo>
                  <a:pt x="725870" y="746891"/>
                  <a:pt x="656627" y="789762"/>
                  <a:pt x="569991" y="800536"/>
                </a:cubicBezTo>
                <a:cubicBezTo>
                  <a:pt x="423531" y="818785"/>
                  <a:pt x="257503" y="743297"/>
                  <a:pt x="169206" y="659322"/>
                </a:cubicBezTo>
                <a:cubicBezTo>
                  <a:pt x="101912" y="595321"/>
                  <a:pt x="42855" y="473174"/>
                  <a:pt x="60190" y="363546"/>
                </a:cubicBezTo>
                <a:cubicBezTo>
                  <a:pt x="69447" y="297263"/>
                  <a:pt x="112092" y="240366"/>
                  <a:pt x="173136" y="212855"/>
                </a:cubicBezTo>
                <a:cubicBezTo>
                  <a:pt x="235556" y="183259"/>
                  <a:pt x="308563" y="186330"/>
                  <a:pt x="368273" y="221063"/>
                </a:cubicBezTo>
                <a:cubicBezTo>
                  <a:pt x="432248" y="256422"/>
                  <a:pt x="475036" y="320651"/>
                  <a:pt x="483001" y="393280"/>
                </a:cubicBezTo>
                <a:cubicBezTo>
                  <a:pt x="489749" y="458890"/>
                  <a:pt x="452207" y="509547"/>
                  <a:pt x="385031" y="525490"/>
                </a:cubicBezTo>
                <a:cubicBezTo>
                  <a:pt x="306603" y="544097"/>
                  <a:pt x="201971" y="509779"/>
                  <a:pt x="171201" y="429030"/>
                </a:cubicBezTo>
                <a:cubicBezTo>
                  <a:pt x="167456" y="419203"/>
                  <a:pt x="172391" y="408202"/>
                  <a:pt x="182224" y="404460"/>
                </a:cubicBezTo>
                <a:cubicBezTo>
                  <a:pt x="192056" y="400717"/>
                  <a:pt x="203063" y="405649"/>
                  <a:pt x="206808" y="415476"/>
                </a:cubicBezTo>
                <a:cubicBezTo>
                  <a:pt x="230109" y="476633"/>
                  <a:pt x="314802" y="503016"/>
                  <a:pt x="376226" y="488444"/>
                </a:cubicBezTo>
                <a:cubicBezTo>
                  <a:pt x="404760" y="481672"/>
                  <a:pt x="451645" y="460810"/>
                  <a:pt x="445096" y="397176"/>
                </a:cubicBezTo>
                <a:cubicBezTo>
                  <a:pt x="438408" y="336874"/>
                  <a:pt x="402814" y="283583"/>
                  <a:pt x="349656" y="254285"/>
                </a:cubicBezTo>
                <a:cubicBezTo>
                  <a:pt x="300740" y="225693"/>
                  <a:pt x="240867" y="223037"/>
                  <a:pt x="189610" y="247187"/>
                </a:cubicBezTo>
                <a:cubicBezTo>
                  <a:pt x="139787" y="269193"/>
                  <a:pt x="105013" y="315527"/>
                  <a:pt x="97819" y="369491"/>
                </a:cubicBezTo>
                <a:cubicBezTo>
                  <a:pt x="84551" y="453429"/>
                  <a:pt x="126530" y="566172"/>
                  <a:pt x="195474" y="631740"/>
                </a:cubicBezTo>
                <a:cubicBezTo>
                  <a:pt x="277269" y="709528"/>
                  <a:pt x="430562" y="779512"/>
                  <a:pt x="565289" y="762751"/>
                </a:cubicBezTo>
                <a:cubicBezTo>
                  <a:pt x="641280" y="753296"/>
                  <a:pt x="699388" y="717467"/>
                  <a:pt x="737999" y="656264"/>
                </a:cubicBezTo>
                <a:cubicBezTo>
                  <a:pt x="771197" y="603637"/>
                  <a:pt x="777629" y="527731"/>
                  <a:pt x="756110" y="442519"/>
                </a:cubicBezTo>
                <a:cubicBezTo>
                  <a:pt x="726424" y="324979"/>
                  <a:pt x="649498" y="211195"/>
                  <a:pt x="569042" y="165814"/>
                </a:cubicBezTo>
                <a:cubicBezTo>
                  <a:pt x="465188" y="107233"/>
                  <a:pt x="288036" y="74244"/>
                  <a:pt x="171359" y="120453"/>
                </a:cubicBezTo>
                <a:cubicBezTo>
                  <a:pt x="94704" y="150814"/>
                  <a:pt x="85695" y="197869"/>
                  <a:pt x="69342" y="283289"/>
                </a:cubicBezTo>
                <a:cubicBezTo>
                  <a:pt x="33564" y="470135"/>
                  <a:pt x="28517" y="610721"/>
                  <a:pt x="53916" y="713075"/>
                </a:cubicBezTo>
                <a:cubicBezTo>
                  <a:pt x="81900" y="825873"/>
                  <a:pt x="168824" y="980478"/>
                  <a:pt x="260457" y="1033566"/>
                </a:cubicBezTo>
                <a:cubicBezTo>
                  <a:pt x="371401" y="1097749"/>
                  <a:pt x="504534" y="1111383"/>
                  <a:pt x="626197" y="1071022"/>
                </a:cubicBezTo>
                <a:cubicBezTo>
                  <a:pt x="767203" y="1024783"/>
                  <a:pt x="882617" y="922020"/>
                  <a:pt x="944796" y="787349"/>
                </a:cubicBezTo>
                <a:cubicBezTo>
                  <a:pt x="1002612" y="661072"/>
                  <a:pt x="1023385" y="520989"/>
                  <a:pt x="1004699" y="383380"/>
                </a:cubicBezTo>
                <a:cubicBezTo>
                  <a:pt x="986891" y="254177"/>
                  <a:pt x="852504" y="85739"/>
                  <a:pt x="728181" y="36789"/>
                </a:cubicBezTo>
                <a:cubicBezTo>
                  <a:pt x="718401" y="32912"/>
                  <a:pt x="713617" y="21846"/>
                  <a:pt x="717495" y="12072"/>
                </a:cubicBezTo>
                <a:cubicBezTo>
                  <a:pt x="721361" y="2329"/>
                  <a:pt x="732378" y="-2459"/>
                  <a:pt x="742144" y="1360"/>
                </a:cubicBezTo>
                <a:cubicBezTo>
                  <a:pt x="879586" y="55475"/>
                  <a:pt x="1022717" y="235083"/>
                  <a:pt x="1042446" y="378183"/>
                </a:cubicBezTo>
                <a:cubicBezTo>
                  <a:pt x="1062116" y="522922"/>
                  <a:pt x="1040282" y="670268"/>
                  <a:pt x="979482" y="803097"/>
                </a:cubicBezTo>
                <a:cubicBezTo>
                  <a:pt x="912796" y="947515"/>
                  <a:pt x="789019" y="1057711"/>
                  <a:pt x="637801" y="1107287"/>
                </a:cubicBezTo>
                <a:cubicBezTo>
                  <a:pt x="587871" y="1123399"/>
                  <a:pt x="535739" y="1131661"/>
                  <a:pt x="483270" y="1131779"/>
                </a:cubicBezTo>
                <a:close/>
              </a:path>
            </a:pathLst>
          </a:custGeom>
          <a:solidFill>
            <a:schemeClr val="dk2"/>
          </a:solidFill>
          <a:ln>
            <a:noFill/>
          </a:ln>
        </p:spPr>
        <p:txBody>
          <a:bodyPr spcFirstLastPara="1" wrap="square" lIns="121900" tIns="60933" rIns="121900" bIns="60933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sz="2400">
              <a:solidFill>
                <a:srgbClr val="000000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69" name="Google Shape;69;p3"/>
          <p:cNvSpPr txBox="1">
            <a:spLocks noGrp="1"/>
          </p:cNvSpPr>
          <p:nvPr>
            <p:ph type="title"/>
          </p:nvPr>
        </p:nvSpPr>
        <p:spPr>
          <a:xfrm>
            <a:off x="2356400" y="3038233"/>
            <a:ext cx="4934400" cy="13016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600"/>
              <a:buNone/>
              <a:defRPr sz="6933"/>
            </a:lvl1pPr>
            <a:lvl2pPr lvl="1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2pPr>
            <a:lvl3pPr lvl="2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3pPr>
            <a:lvl4pPr lvl="3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4pPr>
            <a:lvl5pPr lvl="4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5pPr>
            <a:lvl6pPr lvl="5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6pPr>
            <a:lvl7pPr lvl="6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7pPr>
            <a:lvl8pPr lvl="7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8pPr>
            <a:lvl9pPr lvl="8" algn="ctr">
              <a:spcBef>
                <a:spcPts val="0"/>
              </a:spcBef>
              <a:spcAft>
                <a:spcPts val="0"/>
              </a:spcAft>
              <a:buSzPts val="3600"/>
              <a:buNone/>
              <a:defRPr sz="4800"/>
            </a:lvl9pPr>
          </a:lstStyle>
          <a:p>
            <a:endParaRPr/>
          </a:p>
        </p:txBody>
      </p:sp>
      <p:sp>
        <p:nvSpPr>
          <p:cNvPr id="70" name="Google Shape;70;p3"/>
          <p:cNvSpPr txBox="1">
            <a:spLocks noGrp="1"/>
          </p:cNvSpPr>
          <p:nvPr>
            <p:ph type="title" idx="2" hasCustomPrompt="1"/>
          </p:nvPr>
        </p:nvSpPr>
        <p:spPr>
          <a:xfrm>
            <a:off x="2356400" y="1429300"/>
            <a:ext cx="1744000" cy="1608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10666"/>
            </a:lvl1pPr>
            <a:lvl2pPr lvl="1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8000">
                <a:solidFill>
                  <a:schemeClr val="lt1"/>
                </a:solidFill>
              </a:defRPr>
            </a:lvl2pPr>
            <a:lvl3pPr lvl="2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8000">
                <a:solidFill>
                  <a:schemeClr val="lt1"/>
                </a:solidFill>
              </a:defRPr>
            </a:lvl3pPr>
            <a:lvl4pPr lvl="3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8000">
                <a:solidFill>
                  <a:schemeClr val="lt1"/>
                </a:solidFill>
              </a:defRPr>
            </a:lvl4pPr>
            <a:lvl5pPr lvl="4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8000">
                <a:solidFill>
                  <a:schemeClr val="lt1"/>
                </a:solidFill>
              </a:defRPr>
            </a:lvl5pPr>
            <a:lvl6pPr lvl="5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8000">
                <a:solidFill>
                  <a:schemeClr val="lt1"/>
                </a:solidFill>
              </a:defRPr>
            </a:lvl6pPr>
            <a:lvl7pPr lvl="6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8000">
                <a:solidFill>
                  <a:schemeClr val="lt1"/>
                </a:solidFill>
              </a:defRPr>
            </a:lvl7pPr>
            <a:lvl8pPr lvl="7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8000">
                <a:solidFill>
                  <a:schemeClr val="lt1"/>
                </a:solidFill>
              </a:defRPr>
            </a:lvl8pPr>
            <a:lvl9pPr lvl="8" algn="ctr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6000"/>
              <a:buNone/>
              <a:defRPr sz="8000">
                <a:solidFill>
                  <a:schemeClr val="lt1"/>
                </a:solidFill>
              </a:defRPr>
            </a:lvl9pPr>
          </a:lstStyle>
          <a:p>
            <a:r>
              <a:t>xx%</a:t>
            </a:r>
          </a:p>
        </p:txBody>
      </p:sp>
      <p:sp>
        <p:nvSpPr>
          <p:cNvPr id="71" name="Google Shape;71;p3"/>
          <p:cNvSpPr txBox="1">
            <a:spLocks noGrp="1"/>
          </p:cNvSpPr>
          <p:nvPr>
            <p:ph type="subTitle" idx="1"/>
          </p:nvPr>
        </p:nvSpPr>
        <p:spPr>
          <a:xfrm>
            <a:off x="2356400" y="4337800"/>
            <a:ext cx="4934400" cy="892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2133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3" name="Google Shape;73;p4"/>
          <p:cNvGrpSpPr/>
          <p:nvPr/>
        </p:nvGrpSpPr>
        <p:grpSpPr>
          <a:xfrm>
            <a:off x="-495075" y="-1379199"/>
            <a:ext cx="14843128" cy="10956483"/>
            <a:chOff x="-371306" y="-1034399"/>
            <a:chExt cx="11132346" cy="8217362"/>
          </a:xfrm>
        </p:grpSpPr>
        <p:grpSp>
          <p:nvGrpSpPr>
            <p:cNvPr id="74" name="Google Shape;74;p4"/>
            <p:cNvGrpSpPr/>
            <p:nvPr/>
          </p:nvGrpSpPr>
          <p:grpSpPr>
            <a:xfrm rot="8699549">
              <a:off x="8479509" y="796222"/>
              <a:ext cx="1962417" cy="1731397"/>
              <a:chOff x="6730953" y="3918493"/>
              <a:chExt cx="1962362" cy="1731348"/>
            </a:xfrm>
          </p:grpSpPr>
          <p:sp>
            <p:nvSpPr>
              <p:cNvPr id="75" name="Google Shape;75;p4"/>
              <p:cNvSpPr/>
              <p:nvPr/>
            </p:nvSpPr>
            <p:spPr>
              <a:xfrm>
                <a:off x="7606240" y="3993966"/>
                <a:ext cx="989494" cy="733535"/>
              </a:xfrm>
              <a:custGeom>
                <a:avLst/>
                <a:gdLst/>
                <a:ahLst/>
                <a:cxnLst/>
                <a:rect l="l" t="t" r="r" b="b"/>
                <a:pathLst>
                  <a:path w="989494" h="733535" extrusionOk="0">
                    <a:moveTo>
                      <a:pt x="248676" y="549786"/>
                    </a:moveTo>
                    <a:cubicBezTo>
                      <a:pt x="374940" y="588774"/>
                      <a:pt x="481056" y="704395"/>
                      <a:pt x="607321" y="729940"/>
                    </a:cubicBezTo>
                    <a:cubicBezTo>
                      <a:pt x="694631" y="747417"/>
                      <a:pt x="784628" y="699018"/>
                      <a:pt x="842387" y="631796"/>
                    </a:cubicBezTo>
                    <a:cubicBezTo>
                      <a:pt x="898803" y="565919"/>
                      <a:pt x="1010291" y="376354"/>
                      <a:pt x="986113" y="284933"/>
                    </a:cubicBezTo>
                    <a:cubicBezTo>
                      <a:pt x="957905" y="182756"/>
                      <a:pt x="832985" y="178723"/>
                      <a:pt x="745674" y="130323"/>
                    </a:cubicBezTo>
                    <a:cubicBezTo>
                      <a:pt x="585829" y="42935"/>
                      <a:pt x="459564" y="-39076"/>
                      <a:pt x="267481" y="20080"/>
                    </a:cubicBezTo>
                    <a:cubicBezTo>
                      <a:pt x="119725" y="65790"/>
                      <a:pt x="-15941" y="198889"/>
                      <a:pt x="1521" y="365598"/>
                    </a:cubicBezTo>
                    <a:cubicBezTo>
                      <a:pt x="16296" y="526930"/>
                      <a:pt x="121069" y="509453"/>
                      <a:pt x="248676" y="54978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6" name="Google Shape;76;p4"/>
              <p:cNvSpPr/>
              <p:nvPr/>
            </p:nvSpPr>
            <p:spPr>
              <a:xfrm>
                <a:off x="7374821" y="4790720"/>
                <a:ext cx="983997" cy="859121"/>
              </a:xfrm>
              <a:custGeom>
                <a:avLst/>
                <a:gdLst/>
                <a:ahLst/>
                <a:cxnLst/>
                <a:rect l="l" t="t" r="r" b="b"/>
                <a:pathLst>
                  <a:path w="983997" h="859121" extrusionOk="0">
                    <a:moveTo>
                      <a:pt x="664119" y="406"/>
                    </a:moveTo>
                    <a:cubicBezTo>
                      <a:pt x="462633" y="-7660"/>
                      <a:pt x="261148" y="105272"/>
                      <a:pt x="133540" y="255849"/>
                    </a:cubicBezTo>
                    <a:cubicBezTo>
                      <a:pt x="23395" y="384914"/>
                      <a:pt x="-54513" y="574479"/>
                      <a:pt x="47573" y="730433"/>
                    </a:cubicBezTo>
                    <a:cubicBezTo>
                      <a:pt x="232940" y="1016797"/>
                      <a:pt x="502931" y="751944"/>
                      <a:pt x="696357" y="639012"/>
                    </a:cubicBezTo>
                    <a:cubicBezTo>
                      <a:pt x="748743" y="609434"/>
                      <a:pt x="805159" y="586579"/>
                      <a:pt x="853515" y="550279"/>
                    </a:cubicBezTo>
                    <a:cubicBezTo>
                      <a:pt x="1108730" y="356681"/>
                      <a:pt x="959631" y="11162"/>
                      <a:pt x="664119" y="40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7" name="Google Shape;77;p4"/>
              <p:cNvSpPr/>
              <p:nvPr/>
            </p:nvSpPr>
            <p:spPr>
              <a:xfrm>
                <a:off x="6866202" y="4524993"/>
                <a:ext cx="679468" cy="589657"/>
              </a:xfrm>
              <a:custGeom>
                <a:avLst/>
                <a:gdLst/>
                <a:ahLst/>
                <a:cxnLst/>
                <a:rect l="l" t="t" r="r" b="b"/>
                <a:pathLst>
                  <a:path w="679468" h="589657" extrusionOk="0">
                    <a:moveTo>
                      <a:pt x="515895" y="353522"/>
                    </a:moveTo>
                    <a:cubicBezTo>
                      <a:pt x="549476" y="319911"/>
                      <a:pt x="612608" y="346800"/>
                      <a:pt x="647532" y="309156"/>
                    </a:cubicBezTo>
                    <a:cubicBezTo>
                      <a:pt x="694546" y="259412"/>
                      <a:pt x="683800" y="169335"/>
                      <a:pt x="652905" y="112869"/>
                    </a:cubicBezTo>
                    <a:cubicBezTo>
                      <a:pt x="592460" y="1281"/>
                      <a:pt x="294261" y="-52497"/>
                      <a:pt x="241875" y="69847"/>
                    </a:cubicBezTo>
                    <a:cubicBezTo>
                      <a:pt x="65911" y="124969"/>
                      <a:pt x="-38862" y="213701"/>
                      <a:pt x="13524" y="349489"/>
                    </a:cubicBezTo>
                    <a:cubicBezTo>
                      <a:pt x="83373" y="525609"/>
                      <a:pt x="419182" y="728618"/>
                      <a:pt x="497090" y="458388"/>
                    </a:cubicBezTo>
                    <a:cubicBezTo>
                      <a:pt x="509179" y="418055"/>
                      <a:pt x="482314" y="385788"/>
                      <a:pt x="515895" y="35352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8" name="Google Shape;78;p4"/>
              <p:cNvSpPr/>
              <p:nvPr/>
            </p:nvSpPr>
            <p:spPr>
              <a:xfrm>
                <a:off x="7018173" y="3918493"/>
                <a:ext cx="450521" cy="468166"/>
              </a:xfrm>
              <a:custGeom>
                <a:avLst/>
                <a:gdLst/>
                <a:ahLst/>
                <a:cxnLst/>
                <a:rect l="l" t="t" r="r" b="b"/>
                <a:pathLst>
                  <a:path w="450521" h="468166" extrusionOk="0">
                    <a:moveTo>
                      <a:pt x="134230" y="450483"/>
                    </a:moveTo>
                    <a:cubicBezTo>
                      <a:pt x="221541" y="486782"/>
                      <a:pt x="343775" y="466616"/>
                      <a:pt x="409594" y="395361"/>
                    </a:cubicBezTo>
                    <a:cubicBezTo>
                      <a:pt x="506307" y="291839"/>
                      <a:pt x="418996" y="48498"/>
                      <a:pt x="279300" y="8165"/>
                    </a:cubicBezTo>
                    <a:cubicBezTo>
                      <a:pt x="181244" y="-20069"/>
                      <a:pt x="80501" y="28331"/>
                      <a:pt x="50950" y="100930"/>
                    </a:cubicBezTo>
                    <a:cubicBezTo>
                      <a:pt x="-55166" y="193696"/>
                      <a:pt x="20055" y="403427"/>
                      <a:pt x="134230" y="45048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79" name="Google Shape;79;p4"/>
              <p:cNvSpPr/>
              <p:nvPr/>
            </p:nvSpPr>
            <p:spPr>
              <a:xfrm>
                <a:off x="6757659" y="5205962"/>
                <a:ext cx="435900" cy="342612"/>
              </a:xfrm>
              <a:custGeom>
                <a:avLst/>
                <a:gdLst/>
                <a:ahLst/>
                <a:cxnLst/>
                <a:rect l="l" t="t" r="r" b="b"/>
                <a:pathLst>
                  <a:path w="435900" h="342612" extrusionOk="0">
                    <a:moveTo>
                      <a:pt x="95203" y="12694"/>
                    </a:moveTo>
                    <a:cubicBezTo>
                      <a:pt x="-43151" y="-4784"/>
                      <a:pt x="-9570" y="195536"/>
                      <a:pt x="62965" y="256036"/>
                    </a:cubicBezTo>
                    <a:cubicBezTo>
                      <a:pt x="132813" y="315191"/>
                      <a:pt x="400117" y="409301"/>
                      <a:pt x="433698" y="270825"/>
                    </a:cubicBezTo>
                    <a:cubicBezTo>
                      <a:pt x="459220" y="161926"/>
                      <a:pt x="257734" y="-54528"/>
                      <a:pt x="95203" y="1269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0" name="Google Shape;80;p4"/>
              <p:cNvSpPr/>
              <p:nvPr/>
            </p:nvSpPr>
            <p:spPr>
              <a:xfrm>
                <a:off x="6730953" y="4336971"/>
                <a:ext cx="250183" cy="225252"/>
              </a:xfrm>
              <a:custGeom>
                <a:avLst/>
                <a:gdLst/>
                <a:ahLst/>
                <a:cxnLst/>
                <a:rect l="l" t="t" r="r" b="b"/>
                <a:pathLst>
                  <a:path w="250183" h="225252" extrusionOk="0">
                    <a:moveTo>
                      <a:pt x="189071" y="210814"/>
                    </a:moveTo>
                    <a:cubicBezTo>
                      <a:pt x="281754" y="169137"/>
                      <a:pt x="258919" y="73682"/>
                      <a:pt x="187728" y="21249"/>
                    </a:cubicBezTo>
                    <a:lnTo>
                      <a:pt x="131312" y="2427"/>
                    </a:lnTo>
                    <a:cubicBezTo>
                      <a:pt x="-90323" y="-31184"/>
                      <a:pt x="-4355" y="296858"/>
                      <a:pt x="189071" y="21081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81" name="Google Shape;81;p4"/>
              <p:cNvSpPr/>
              <p:nvPr/>
            </p:nvSpPr>
            <p:spPr>
              <a:xfrm>
                <a:off x="8380179" y="4687148"/>
                <a:ext cx="313136" cy="349966"/>
              </a:xfrm>
              <a:custGeom>
                <a:avLst/>
                <a:gdLst/>
                <a:ahLst/>
                <a:cxnLst/>
                <a:rect l="l" t="t" r="r" b="b"/>
                <a:pathLst>
                  <a:path w="313136" h="349966" extrusionOk="0">
                    <a:moveTo>
                      <a:pt x="177250" y="1802"/>
                    </a:moveTo>
                    <a:cubicBezTo>
                      <a:pt x="138296" y="-6265"/>
                      <a:pt x="126207" y="13902"/>
                      <a:pt x="100685" y="39446"/>
                    </a:cubicBezTo>
                    <a:cubicBezTo>
                      <a:pt x="65761" y="69023"/>
                      <a:pt x="21434" y="66335"/>
                      <a:pt x="5316" y="142967"/>
                    </a:cubicBezTo>
                    <a:cubicBezTo>
                      <a:pt x="-14833" y="237077"/>
                      <a:pt x="21434" y="332532"/>
                      <a:pt x="128893" y="348665"/>
                    </a:cubicBezTo>
                    <a:cubicBezTo>
                      <a:pt x="224263" y="363454"/>
                      <a:pt x="318290" y="249177"/>
                      <a:pt x="312916" y="157756"/>
                    </a:cubicBezTo>
                    <a:cubicBezTo>
                      <a:pt x="310230" y="98601"/>
                      <a:pt x="236352" y="15246"/>
                      <a:pt x="177250" y="180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82" name="Google Shape;82;p4"/>
            <p:cNvSpPr/>
            <p:nvPr/>
          </p:nvSpPr>
          <p:spPr>
            <a:xfrm rot="-5400000" flipH="1">
              <a:off x="-1228978" y="-176727"/>
              <a:ext cx="3147793" cy="1432450"/>
            </a:xfrm>
            <a:custGeom>
              <a:avLst/>
              <a:gdLst/>
              <a:ahLst/>
              <a:cxnLst/>
              <a:rect l="l" t="t" r="r" b="b"/>
              <a:pathLst>
                <a:path w="3147793" h="1432450" extrusionOk="0">
                  <a:moveTo>
                    <a:pt x="5" y="0"/>
                  </a:moveTo>
                  <a:cubicBezTo>
                    <a:pt x="2095" y="60948"/>
                    <a:pt x="4029" y="117787"/>
                    <a:pt x="7248" y="166108"/>
                  </a:cubicBezTo>
                  <a:cubicBezTo>
                    <a:pt x="29386" y="498514"/>
                    <a:pt x="91176" y="997120"/>
                    <a:pt x="279439" y="1120824"/>
                  </a:cubicBezTo>
                  <a:cubicBezTo>
                    <a:pt x="428055" y="1218478"/>
                    <a:pt x="537675" y="984218"/>
                    <a:pt x="670878" y="1078596"/>
                  </a:cubicBezTo>
                  <a:cubicBezTo>
                    <a:pt x="761504" y="1142806"/>
                    <a:pt x="825150" y="1304908"/>
                    <a:pt x="906947" y="1373723"/>
                  </a:cubicBezTo>
                  <a:cubicBezTo>
                    <a:pt x="1052507" y="1496183"/>
                    <a:pt x="1363613" y="1443288"/>
                    <a:pt x="1394255" y="1060306"/>
                  </a:cubicBezTo>
                  <a:cubicBezTo>
                    <a:pt x="1413108" y="824675"/>
                    <a:pt x="1190755" y="687312"/>
                    <a:pt x="1259001" y="469483"/>
                  </a:cubicBezTo>
                  <a:cubicBezTo>
                    <a:pt x="1341121" y="207363"/>
                    <a:pt x="1572647" y="474074"/>
                    <a:pt x="1644740" y="604519"/>
                  </a:cubicBezTo>
                  <a:cubicBezTo>
                    <a:pt x="1781519" y="852008"/>
                    <a:pt x="1906539" y="966060"/>
                    <a:pt x="2075133" y="694563"/>
                  </a:cubicBezTo>
                  <a:cubicBezTo>
                    <a:pt x="2154300" y="567074"/>
                    <a:pt x="2290772" y="416377"/>
                    <a:pt x="2458298" y="458812"/>
                  </a:cubicBezTo>
                  <a:cubicBezTo>
                    <a:pt x="2596413" y="493799"/>
                    <a:pt x="2656130" y="606644"/>
                    <a:pt x="2704667" y="729647"/>
                  </a:cubicBezTo>
                  <a:cubicBezTo>
                    <a:pt x="2743050" y="826923"/>
                    <a:pt x="2809757" y="868433"/>
                    <a:pt x="2928732" y="892891"/>
                  </a:cubicBezTo>
                  <a:cubicBezTo>
                    <a:pt x="3109223" y="929997"/>
                    <a:pt x="3127813" y="753080"/>
                    <a:pt x="3139828" y="643479"/>
                  </a:cubicBezTo>
                  <a:cubicBezTo>
                    <a:pt x="3159032" y="468291"/>
                    <a:pt x="3137743" y="292715"/>
                    <a:pt x="3135853" y="117323"/>
                  </a:cubicBezTo>
                  <a:cubicBezTo>
                    <a:pt x="3135414" y="76647"/>
                    <a:pt x="3136034" y="37879"/>
                    <a:pt x="3137189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3" name="Google Shape;83;p4"/>
            <p:cNvSpPr/>
            <p:nvPr/>
          </p:nvSpPr>
          <p:spPr>
            <a:xfrm rot="7863080">
              <a:off x="6201038" y="4355129"/>
              <a:ext cx="2173425" cy="2424432"/>
            </a:xfrm>
            <a:custGeom>
              <a:avLst/>
              <a:gdLst/>
              <a:ahLst/>
              <a:cxnLst/>
              <a:rect l="l" t="t" r="r" b="b"/>
              <a:pathLst>
                <a:path w="2170896" h="2421611" extrusionOk="0">
                  <a:moveTo>
                    <a:pt x="227233" y="412741"/>
                  </a:moveTo>
                  <a:cubicBezTo>
                    <a:pt x="145295" y="572728"/>
                    <a:pt x="-41414" y="833548"/>
                    <a:pt x="8286" y="1060757"/>
                  </a:cubicBezTo>
                  <a:cubicBezTo>
                    <a:pt x="60672" y="1293343"/>
                    <a:pt x="327976" y="1302754"/>
                    <a:pt x="440807" y="1433164"/>
                  </a:cubicBezTo>
                  <a:cubicBezTo>
                    <a:pt x="538864" y="1547441"/>
                    <a:pt x="540207" y="1712806"/>
                    <a:pt x="623488" y="1862038"/>
                  </a:cubicBezTo>
                  <a:cubicBezTo>
                    <a:pt x="804825" y="2184702"/>
                    <a:pt x="1163470" y="2393089"/>
                    <a:pt x="1449579" y="2419977"/>
                  </a:cubicBezTo>
                  <a:cubicBezTo>
                    <a:pt x="1649721" y="2438800"/>
                    <a:pt x="1825685" y="2289568"/>
                    <a:pt x="2024484" y="2254612"/>
                  </a:cubicBezTo>
                  <a:cubicBezTo>
                    <a:pt x="2064781" y="2247890"/>
                    <a:pt x="2115824" y="2238479"/>
                    <a:pt x="2170897" y="2229068"/>
                  </a:cubicBezTo>
                  <a:lnTo>
                    <a:pt x="2170897" y="0"/>
                  </a:lnTo>
                  <a:lnTo>
                    <a:pt x="384392" y="0"/>
                  </a:lnTo>
                  <a:cubicBezTo>
                    <a:pt x="353497" y="139821"/>
                    <a:pt x="297082" y="275609"/>
                    <a:pt x="227233" y="41274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84" name="Google Shape;84;p4"/>
          <p:cNvGrpSpPr/>
          <p:nvPr/>
        </p:nvGrpSpPr>
        <p:grpSpPr>
          <a:xfrm>
            <a:off x="-612785" y="-2064274"/>
            <a:ext cx="10337695" cy="10553985"/>
            <a:chOff x="-459588" y="-1548206"/>
            <a:chExt cx="7753271" cy="7915489"/>
          </a:xfrm>
        </p:grpSpPr>
        <p:sp>
          <p:nvSpPr>
            <p:cNvPr id="85" name="Google Shape;85;p4"/>
            <p:cNvSpPr/>
            <p:nvPr/>
          </p:nvSpPr>
          <p:spPr>
            <a:xfrm rot="10800000" flipH="1">
              <a:off x="4260644" y="-1548206"/>
              <a:ext cx="3033038" cy="2033186"/>
            </a:xfrm>
            <a:custGeom>
              <a:avLst/>
              <a:gdLst/>
              <a:ahLst/>
              <a:cxnLst/>
              <a:rect l="l" t="t" r="r" b="b"/>
              <a:pathLst>
                <a:path w="3033038" h="2033186" extrusionOk="0">
                  <a:moveTo>
                    <a:pt x="2145958" y="2033187"/>
                  </a:moveTo>
                  <a:cubicBezTo>
                    <a:pt x="2068050" y="2033187"/>
                    <a:pt x="2008947" y="2010332"/>
                    <a:pt x="1971337" y="1965965"/>
                  </a:cubicBezTo>
                  <a:cubicBezTo>
                    <a:pt x="1918951" y="1904122"/>
                    <a:pt x="1924324" y="1820767"/>
                    <a:pt x="1929696" y="1741446"/>
                  </a:cubicBezTo>
                  <a:cubicBezTo>
                    <a:pt x="1935069" y="1666157"/>
                    <a:pt x="1940443" y="1594903"/>
                    <a:pt x="1898802" y="1545158"/>
                  </a:cubicBezTo>
                  <a:cubicBezTo>
                    <a:pt x="1884027" y="1527681"/>
                    <a:pt x="1863878" y="1514237"/>
                    <a:pt x="1834327" y="1499448"/>
                  </a:cubicBezTo>
                  <a:cubicBezTo>
                    <a:pt x="1640901" y="1403993"/>
                    <a:pt x="1400461" y="1460459"/>
                    <a:pt x="1237930" y="1511548"/>
                  </a:cubicBezTo>
                  <a:cubicBezTo>
                    <a:pt x="1205692" y="1520959"/>
                    <a:pt x="1174798" y="1531714"/>
                    <a:pt x="1142560" y="1542469"/>
                  </a:cubicBezTo>
                  <a:cubicBezTo>
                    <a:pt x="974655" y="1597591"/>
                    <a:pt x="800034" y="1655402"/>
                    <a:pt x="620041" y="1640613"/>
                  </a:cubicBezTo>
                  <a:cubicBezTo>
                    <a:pt x="296321" y="1613724"/>
                    <a:pt x="19614" y="1328705"/>
                    <a:pt x="809" y="1004697"/>
                  </a:cubicBezTo>
                  <a:cubicBezTo>
                    <a:pt x="-4564" y="898487"/>
                    <a:pt x="16927" y="804376"/>
                    <a:pt x="62597" y="733122"/>
                  </a:cubicBezTo>
                  <a:cubicBezTo>
                    <a:pt x="119014" y="645734"/>
                    <a:pt x="215727" y="594645"/>
                    <a:pt x="308410" y="602712"/>
                  </a:cubicBezTo>
                  <a:cubicBezTo>
                    <a:pt x="370199" y="608089"/>
                    <a:pt x="425271" y="637667"/>
                    <a:pt x="474971" y="664556"/>
                  </a:cubicBezTo>
                  <a:lnTo>
                    <a:pt x="687203" y="778832"/>
                  </a:lnTo>
                  <a:cubicBezTo>
                    <a:pt x="763767" y="819165"/>
                    <a:pt x="841675" y="854120"/>
                    <a:pt x="907493" y="823198"/>
                  </a:cubicBezTo>
                  <a:cubicBezTo>
                    <a:pt x="1002863" y="777488"/>
                    <a:pt x="990774" y="632289"/>
                    <a:pt x="953164" y="544901"/>
                  </a:cubicBezTo>
                  <a:cubicBezTo>
                    <a:pt x="942417" y="519357"/>
                    <a:pt x="928985" y="495157"/>
                    <a:pt x="916896" y="469613"/>
                  </a:cubicBezTo>
                  <a:cubicBezTo>
                    <a:pt x="876599" y="388947"/>
                    <a:pt x="834959" y="305592"/>
                    <a:pt x="845705" y="212826"/>
                  </a:cubicBezTo>
                  <a:cubicBezTo>
                    <a:pt x="856450" y="118716"/>
                    <a:pt x="927642" y="34017"/>
                    <a:pt x="1018982" y="8473"/>
                  </a:cubicBezTo>
                  <a:cubicBezTo>
                    <a:pt x="1110322" y="-17072"/>
                    <a:pt x="1215095" y="16539"/>
                    <a:pt x="1274197" y="90483"/>
                  </a:cubicBezTo>
                  <a:cubicBezTo>
                    <a:pt x="1338672" y="171149"/>
                    <a:pt x="1342702" y="281392"/>
                    <a:pt x="1341359" y="387602"/>
                  </a:cubicBezTo>
                  <a:cubicBezTo>
                    <a:pt x="1340016" y="480368"/>
                    <a:pt x="1338672" y="585234"/>
                    <a:pt x="1393745" y="661867"/>
                  </a:cubicBezTo>
                  <a:cubicBezTo>
                    <a:pt x="1421953" y="702199"/>
                    <a:pt x="1478369" y="729088"/>
                    <a:pt x="1529412" y="726399"/>
                  </a:cubicBezTo>
                  <a:cubicBezTo>
                    <a:pt x="1565679" y="725055"/>
                    <a:pt x="1593887" y="710266"/>
                    <a:pt x="1611350" y="683377"/>
                  </a:cubicBezTo>
                  <a:cubicBezTo>
                    <a:pt x="1644931" y="629600"/>
                    <a:pt x="1619409" y="557001"/>
                    <a:pt x="1596574" y="491124"/>
                  </a:cubicBezTo>
                  <a:lnTo>
                    <a:pt x="1595231" y="485746"/>
                  </a:lnTo>
                  <a:cubicBezTo>
                    <a:pt x="1573739" y="425247"/>
                    <a:pt x="1549561" y="315003"/>
                    <a:pt x="1623439" y="257193"/>
                  </a:cubicBezTo>
                  <a:cubicBezTo>
                    <a:pt x="1655676" y="231648"/>
                    <a:pt x="1695973" y="226271"/>
                    <a:pt x="1736270" y="241059"/>
                  </a:cubicBezTo>
                  <a:cubicBezTo>
                    <a:pt x="1799403" y="263915"/>
                    <a:pt x="1857162" y="331137"/>
                    <a:pt x="1873281" y="402391"/>
                  </a:cubicBezTo>
                  <a:cubicBezTo>
                    <a:pt x="1881340" y="440035"/>
                    <a:pt x="1885370" y="479024"/>
                    <a:pt x="1888056" y="516668"/>
                  </a:cubicBezTo>
                  <a:cubicBezTo>
                    <a:pt x="1893429" y="581201"/>
                    <a:pt x="1897459" y="643045"/>
                    <a:pt x="1929696" y="694133"/>
                  </a:cubicBezTo>
                  <a:cubicBezTo>
                    <a:pt x="1940443" y="710266"/>
                    <a:pt x="1951188" y="721022"/>
                    <a:pt x="1961934" y="725055"/>
                  </a:cubicBezTo>
                  <a:cubicBezTo>
                    <a:pt x="1986113" y="733122"/>
                    <a:pt x="2017007" y="715644"/>
                    <a:pt x="2051931" y="671278"/>
                  </a:cubicBezTo>
                  <a:cubicBezTo>
                    <a:pt x="2069393" y="649767"/>
                    <a:pt x="2088199" y="625567"/>
                    <a:pt x="2105661" y="602712"/>
                  </a:cubicBezTo>
                  <a:cubicBezTo>
                    <a:pt x="2264162" y="399702"/>
                    <a:pt x="2442813" y="169805"/>
                    <a:pt x="2736982" y="242404"/>
                  </a:cubicBezTo>
                  <a:cubicBezTo>
                    <a:pt x="2839068" y="267948"/>
                    <a:pt x="2931751" y="340547"/>
                    <a:pt x="2985481" y="438691"/>
                  </a:cubicBezTo>
                  <a:cubicBezTo>
                    <a:pt x="3035181" y="527423"/>
                    <a:pt x="3045926" y="624223"/>
                    <a:pt x="3017718" y="711611"/>
                  </a:cubicBezTo>
                  <a:cubicBezTo>
                    <a:pt x="2992197" y="789588"/>
                    <a:pt x="2938467" y="856809"/>
                    <a:pt x="2886081" y="921342"/>
                  </a:cubicBezTo>
                  <a:cubicBezTo>
                    <a:pt x="2817576" y="1007386"/>
                    <a:pt x="2753101" y="1086707"/>
                    <a:pt x="2755787" y="1187539"/>
                  </a:cubicBezTo>
                  <a:cubicBezTo>
                    <a:pt x="2758474" y="1248039"/>
                    <a:pt x="2786682" y="1305850"/>
                    <a:pt x="2814889" y="1362316"/>
                  </a:cubicBezTo>
                  <a:cubicBezTo>
                    <a:pt x="2849814" y="1434915"/>
                    <a:pt x="2887425" y="1510203"/>
                    <a:pt x="2873992" y="1592214"/>
                  </a:cubicBezTo>
                  <a:cubicBezTo>
                    <a:pt x="2860560" y="1671535"/>
                    <a:pt x="2801457" y="1732034"/>
                    <a:pt x="2758474" y="1772367"/>
                  </a:cubicBezTo>
                  <a:cubicBezTo>
                    <a:pt x="2609374" y="1910844"/>
                    <a:pt x="2415948" y="2002265"/>
                    <a:pt x="2214463" y="2029154"/>
                  </a:cubicBezTo>
                  <a:cubicBezTo>
                    <a:pt x="2191628" y="2030498"/>
                    <a:pt x="2168793" y="2033187"/>
                    <a:pt x="2145958" y="2033187"/>
                  </a:cubicBezTo>
                  <a:close/>
                  <a:moveTo>
                    <a:pt x="1596574" y="1406682"/>
                  </a:moveTo>
                  <a:cubicBezTo>
                    <a:pt x="1718809" y="1406682"/>
                    <a:pt x="1796716" y="1434915"/>
                    <a:pt x="1853132" y="1463148"/>
                  </a:cubicBezTo>
                  <a:cubicBezTo>
                    <a:pt x="1874624" y="1473904"/>
                    <a:pt x="1906862" y="1491381"/>
                    <a:pt x="1929696" y="1519614"/>
                  </a:cubicBezTo>
                  <a:cubicBezTo>
                    <a:pt x="1982083" y="1581458"/>
                    <a:pt x="1976710" y="1664813"/>
                    <a:pt x="1969994" y="1744134"/>
                  </a:cubicBezTo>
                  <a:cubicBezTo>
                    <a:pt x="1964621" y="1819422"/>
                    <a:pt x="1959248" y="1890678"/>
                    <a:pt x="2002231" y="1940421"/>
                  </a:cubicBezTo>
                  <a:cubicBezTo>
                    <a:pt x="2041185" y="1986132"/>
                    <a:pt x="2111033" y="2002265"/>
                    <a:pt x="2210433" y="1987476"/>
                  </a:cubicBezTo>
                  <a:cubicBezTo>
                    <a:pt x="2403859" y="1960588"/>
                    <a:pt x="2589226" y="1873200"/>
                    <a:pt x="2732952" y="1740101"/>
                  </a:cubicBezTo>
                  <a:cubicBezTo>
                    <a:pt x="2771906" y="1705146"/>
                    <a:pt x="2824292" y="1650024"/>
                    <a:pt x="2835038" y="1582802"/>
                  </a:cubicBezTo>
                  <a:cubicBezTo>
                    <a:pt x="2847127" y="1512892"/>
                    <a:pt x="2814889" y="1447015"/>
                    <a:pt x="2779966" y="1377104"/>
                  </a:cubicBezTo>
                  <a:cubicBezTo>
                    <a:pt x="2750414" y="1316605"/>
                    <a:pt x="2719520" y="1253417"/>
                    <a:pt x="2716833" y="1186195"/>
                  </a:cubicBezTo>
                  <a:cubicBezTo>
                    <a:pt x="2712804" y="1070574"/>
                    <a:pt x="2785338" y="980497"/>
                    <a:pt x="2855187" y="893109"/>
                  </a:cubicBezTo>
                  <a:cubicBezTo>
                    <a:pt x="2904886" y="831265"/>
                    <a:pt x="2955929" y="768077"/>
                    <a:pt x="2978764" y="696822"/>
                  </a:cubicBezTo>
                  <a:cubicBezTo>
                    <a:pt x="3004286" y="620189"/>
                    <a:pt x="2993540" y="535490"/>
                    <a:pt x="2949213" y="456169"/>
                  </a:cubicBezTo>
                  <a:cubicBezTo>
                    <a:pt x="2900857" y="367436"/>
                    <a:pt x="2816233" y="301559"/>
                    <a:pt x="2726236" y="280048"/>
                  </a:cubicBezTo>
                  <a:lnTo>
                    <a:pt x="2726236" y="280048"/>
                  </a:lnTo>
                  <a:cubicBezTo>
                    <a:pt x="2457589" y="212826"/>
                    <a:pt x="2286998" y="431969"/>
                    <a:pt x="2136555" y="625567"/>
                  </a:cubicBezTo>
                  <a:cubicBezTo>
                    <a:pt x="2117750" y="649767"/>
                    <a:pt x="2100288" y="672622"/>
                    <a:pt x="2082825" y="694133"/>
                  </a:cubicBezTo>
                  <a:cubicBezTo>
                    <a:pt x="2065363" y="715644"/>
                    <a:pt x="2011634" y="782865"/>
                    <a:pt x="1947159" y="760010"/>
                  </a:cubicBezTo>
                  <a:cubicBezTo>
                    <a:pt x="1927010" y="753288"/>
                    <a:pt x="1909548" y="737155"/>
                    <a:pt x="1893429" y="711611"/>
                  </a:cubicBezTo>
                  <a:cubicBezTo>
                    <a:pt x="1857162" y="652456"/>
                    <a:pt x="1851789" y="582545"/>
                    <a:pt x="1846416" y="516668"/>
                  </a:cubicBezTo>
                  <a:cubicBezTo>
                    <a:pt x="1843729" y="480368"/>
                    <a:pt x="1841043" y="442724"/>
                    <a:pt x="1832984" y="409113"/>
                  </a:cubicBezTo>
                  <a:cubicBezTo>
                    <a:pt x="1819551" y="351303"/>
                    <a:pt x="1771195" y="294837"/>
                    <a:pt x="1721495" y="276015"/>
                  </a:cubicBezTo>
                  <a:cubicBezTo>
                    <a:pt x="1693287" y="266604"/>
                    <a:pt x="1667765" y="269293"/>
                    <a:pt x="1646273" y="285426"/>
                  </a:cubicBezTo>
                  <a:cubicBezTo>
                    <a:pt x="1592544" y="327103"/>
                    <a:pt x="1614036" y="418525"/>
                    <a:pt x="1631498" y="469613"/>
                  </a:cubicBezTo>
                  <a:lnTo>
                    <a:pt x="1632841" y="474991"/>
                  </a:lnTo>
                  <a:cubicBezTo>
                    <a:pt x="1657020" y="544901"/>
                    <a:pt x="1686571" y="632289"/>
                    <a:pt x="1643587" y="700855"/>
                  </a:cubicBezTo>
                  <a:cubicBezTo>
                    <a:pt x="1619409" y="738499"/>
                    <a:pt x="1579112" y="761355"/>
                    <a:pt x="1529412" y="762699"/>
                  </a:cubicBezTo>
                  <a:cubicBezTo>
                    <a:pt x="1464937" y="765388"/>
                    <a:pt x="1396432" y="731777"/>
                    <a:pt x="1360164" y="680689"/>
                  </a:cubicBezTo>
                  <a:cubicBezTo>
                    <a:pt x="1297032" y="593301"/>
                    <a:pt x="1298375" y="476335"/>
                    <a:pt x="1299719" y="382225"/>
                  </a:cubicBezTo>
                  <a:cubicBezTo>
                    <a:pt x="1301062" y="284081"/>
                    <a:pt x="1297032" y="181905"/>
                    <a:pt x="1240616" y="110649"/>
                  </a:cubicBezTo>
                  <a:cubicBezTo>
                    <a:pt x="1190916" y="48806"/>
                    <a:pt x="1103606" y="20573"/>
                    <a:pt x="1028385" y="42084"/>
                  </a:cubicBezTo>
                  <a:cubicBezTo>
                    <a:pt x="951820" y="63594"/>
                    <a:pt x="892718" y="133505"/>
                    <a:pt x="884658" y="212826"/>
                  </a:cubicBezTo>
                  <a:cubicBezTo>
                    <a:pt x="875256" y="293492"/>
                    <a:pt x="912867" y="367436"/>
                    <a:pt x="951820" y="446757"/>
                  </a:cubicBezTo>
                  <a:cubicBezTo>
                    <a:pt x="963909" y="472302"/>
                    <a:pt x="977342" y="497846"/>
                    <a:pt x="988087" y="523390"/>
                  </a:cubicBezTo>
                  <a:cubicBezTo>
                    <a:pt x="1057936" y="684722"/>
                    <a:pt x="1006893" y="815132"/>
                    <a:pt x="923612" y="854120"/>
                  </a:cubicBezTo>
                  <a:cubicBezTo>
                    <a:pt x="843018" y="893109"/>
                    <a:pt x="753021" y="855465"/>
                    <a:pt x="667054" y="809754"/>
                  </a:cubicBezTo>
                  <a:lnTo>
                    <a:pt x="454823" y="695477"/>
                  </a:lnTo>
                  <a:cubicBezTo>
                    <a:pt x="409153" y="671278"/>
                    <a:pt x="358110" y="643045"/>
                    <a:pt x="304380" y="639011"/>
                  </a:cubicBezTo>
                  <a:cubicBezTo>
                    <a:pt x="226472" y="632289"/>
                    <a:pt x="144535" y="676655"/>
                    <a:pt x="96178" y="751944"/>
                  </a:cubicBezTo>
                  <a:cubicBezTo>
                    <a:pt x="43792" y="832610"/>
                    <a:pt x="37076" y="930753"/>
                    <a:pt x="39762" y="999319"/>
                  </a:cubicBezTo>
                  <a:cubicBezTo>
                    <a:pt x="57225" y="1304505"/>
                    <a:pt x="317812" y="1572047"/>
                    <a:pt x="621384" y="1597591"/>
                  </a:cubicBezTo>
                  <a:cubicBezTo>
                    <a:pt x="791975" y="1612380"/>
                    <a:pt x="962566" y="1555914"/>
                    <a:pt x="1127784" y="1502136"/>
                  </a:cubicBezTo>
                  <a:cubicBezTo>
                    <a:pt x="1160022" y="1491381"/>
                    <a:pt x="1192260" y="1480626"/>
                    <a:pt x="1224497" y="1471215"/>
                  </a:cubicBezTo>
                  <a:cubicBezTo>
                    <a:pt x="1381656" y="1424160"/>
                    <a:pt x="1502547" y="1406682"/>
                    <a:pt x="1596574" y="140668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86" name="Google Shape;86;p4"/>
            <p:cNvSpPr/>
            <p:nvPr/>
          </p:nvSpPr>
          <p:spPr>
            <a:xfrm rot="10800000" flipH="1">
              <a:off x="-459588" y="4205949"/>
              <a:ext cx="2066222" cy="2161334"/>
            </a:xfrm>
            <a:custGeom>
              <a:avLst/>
              <a:gdLst/>
              <a:ahLst/>
              <a:cxnLst/>
              <a:rect l="l" t="t" r="r" b="b"/>
              <a:pathLst>
                <a:path w="2066222" h="2161334" extrusionOk="0">
                  <a:moveTo>
                    <a:pt x="337808" y="2161335"/>
                  </a:moveTo>
                  <a:cubicBezTo>
                    <a:pt x="321689" y="2161335"/>
                    <a:pt x="306913" y="2159990"/>
                    <a:pt x="290794" y="2155957"/>
                  </a:cubicBezTo>
                  <a:cubicBezTo>
                    <a:pt x="216916" y="2139824"/>
                    <a:pt x="149755" y="2086046"/>
                    <a:pt x="86623" y="1989247"/>
                  </a:cubicBezTo>
                  <a:cubicBezTo>
                    <a:pt x="7371" y="1868248"/>
                    <a:pt x="-18150" y="1753972"/>
                    <a:pt x="12745" y="1661206"/>
                  </a:cubicBezTo>
                  <a:cubicBezTo>
                    <a:pt x="67817" y="1495841"/>
                    <a:pt x="269303" y="1448786"/>
                    <a:pt x="383478" y="1435341"/>
                  </a:cubicBezTo>
                  <a:cubicBezTo>
                    <a:pt x="407656" y="1432653"/>
                    <a:pt x="433177" y="1429964"/>
                    <a:pt x="458699" y="1427275"/>
                  </a:cubicBezTo>
                  <a:cubicBezTo>
                    <a:pt x="576904" y="1415175"/>
                    <a:pt x="700482" y="1403075"/>
                    <a:pt x="790479" y="1333165"/>
                  </a:cubicBezTo>
                  <a:cubicBezTo>
                    <a:pt x="817343" y="1312998"/>
                    <a:pt x="836148" y="1290143"/>
                    <a:pt x="845551" y="1267287"/>
                  </a:cubicBezTo>
                  <a:cubicBezTo>
                    <a:pt x="872416" y="1202755"/>
                    <a:pt x="837492" y="1127467"/>
                    <a:pt x="803911" y="1053523"/>
                  </a:cubicBezTo>
                  <a:cubicBezTo>
                    <a:pt x="763614" y="964790"/>
                    <a:pt x="721973" y="873369"/>
                    <a:pt x="782419" y="796736"/>
                  </a:cubicBezTo>
                  <a:cubicBezTo>
                    <a:pt x="842865" y="720104"/>
                    <a:pt x="957040" y="733548"/>
                    <a:pt x="1044350" y="771192"/>
                  </a:cubicBezTo>
                  <a:cubicBezTo>
                    <a:pt x="1059126" y="777914"/>
                    <a:pt x="1073902" y="784636"/>
                    <a:pt x="1088677" y="791359"/>
                  </a:cubicBezTo>
                  <a:cubicBezTo>
                    <a:pt x="1153152" y="820936"/>
                    <a:pt x="1213598" y="850514"/>
                    <a:pt x="1275387" y="839758"/>
                  </a:cubicBezTo>
                  <a:cubicBezTo>
                    <a:pt x="1318371" y="833036"/>
                    <a:pt x="1353295" y="787325"/>
                    <a:pt x="1360011" y="749681"/>
                  </a:cubicBezTo>
                  <a:cubicBezTo>
                    <a:pt x="1364041" y="730859"/>
                    <a:pt x="1362697" y="705315"/>
                    <a:pt x="1337176" y="691871"/>
                  </a:cubicBezTo>
                  <a:cubicBezTo>
                    <a:pt x="1322400" y="683804"/>
                    <a:pt x="1304938" y="681115"/>
                    <a:pt x="1284790" y="678426"/>
                  </a:cubicBezTo>
                  <a:lnTo>
                    <a:pt x="1280760" y="678426"/>
                  </a:lnTo>
                  <a:cubicBezTo>
                    <a:pt x="1181360" y="666326"/>
                    <a:pt x="1111512" y="639438"/>
                    <a:pt x="1059126" y="595072"/>
                  </a:cubicBezTo>
                  <a:cubicBezTo>
                    <a:pt x="998680" y="543983"/>
                    <a:pt x="958383" y="448528"/>
                    <a:pt x="995994" y="366518"/>
                  </a:cubicBezTo>
                  <a:cubicBezTo>
                    <a:pt x="1040321" y="269719"/>
                    <a:pt x="1236433" y="77465"/>
                    <a:pt x="1334489" y="34443"/>
                  </a:cubicBezTo>
                  <a:cubicBezTo>
                    <a:pt x="1486275" y="-30089"/>
                    <a:pt x="1706566" y="-1856"/>
                    <a:pt x="1848949" y="101665"/>
                  </a:cubicBezTo>
                  <a:lnTo>
                    <a:pt x="1848949" y="101665"/>
                  </a:lnTo>
                  <a:cubicBezTo>
                    <a:pt x="2034316" y="236108"/>
                    <a:pt x="2094761" y="502306"/>
                    <a:pt x="1981930" y="682460"/>
                  </a:cubicBezTo>
                  <a:cubicBezTo>
                    <a:pt x="1973870" y="694560"/>
                    <a:pt x="1965811" y="706659"/>
                    <a:pt x="1957751" y="717415"/>
                  </a:cubicBezTo>
                  <a:cubicBezTo>
                    <a:pt x="1941633" y="740270"/>
                    <a:pt x="1926857" y="761781"/>
                    <a:pt x="1916111" y="785981"/>
                  </a:cubicBezTo>
                  <a:cubicBezTo>
                    <a:pt x="1879844" y="876058"/>
                    <a:pt x="1929543" y="968824"/>
                    <a:pt x="1981930" y="1066967"/>
                  </a:cubicBezTo>
                  <a:cubicBezTo>
                    <a:pt x="2034316" y="1165111"/>
                    <a:pt x="2088045" y="1267287"/>
                    <a:pt x="2057151" y="1372153"/>
                  </a:cubicBezTo>
                  <a:cubicBezTo>
                    <a:pt x="2030286" y="1464919"/>
                    <a:pt x="1944319" y="1525418"/>
                    <a:pt x="1858352" y="1577851"/>
                  </a:cubicBezTo>
                  <a:cubicBezTo>
                    <a:pt x="1710596" y="1669272"/>
                    <a:pt x="1538662" y="1752627"/>
                    <a:pt x="1388219" y="1678684"/>
                  </a:cubicBezTo>
                  <a:cubicBezTo>
                    <a:pt x="1358668" y="1663895"/>
                    <a:pt x="1329117" y="1643728"/>
                    <a:pt x="1302252" y="1623562"/>
                  </a:cubicBezTo>
                  <a:cubicBezTo>
                    <a:pt x="1247179" y="1583229"/>
                    <a:pt x="1194793" y="1544241"/>
                    <a:pt x="1138377" y="1561718"/>
                  </a:cubicBezTo>
                  <a:cubicBezTo>
                    <a:pt x="1095393" y="1573818"/>
                    <a:pt x="1067185" y="1616840"/>
                    <a:pt x="1038977" y="1657173"/>
                  </a:cubicBezTo>
                  <a:lnTo>
                    <a:pt x="1034948" y="1662550"/>
                  </a:lnTo>
                  <a:cubicBezTo>
                    <a:pt x="903310" y="1852115"/>
                    <a:pt x="724660" y="2005380"/>
                    <a:pt x="516458" y="2106213"/>
                  </a:cubicBezTo>
                  <a:cubicBezTo>
                    <a:pt x="466758" y="2135791"/>
                    <a:pt x="402283" y="2161335"/>
                    <a:pt x="337808" y="2161335"/>
                  </a:cubicBezTo>
                  <a:close/>
                  <a:moveTo>
                    <a:pt x="911370" y="783292"/>
                  </a:moveTo>
                  <a:cubicBezTo>
                    <a:pt x="872416" y="783292"/>
                    <a:pt x="836148" y="794047"/>
                    <a:pt x="813313" y="823625"/>
                  </a:cubicBezTo>
                  <a:cubicBezTo>
                    <a:pt x="767644" y="881436"/>
                    <a:pt x="801224" y="954035"/>
                    <a:pt x="838835" y="1038734"/>
                  </a:cubicBezTo>
                  <a:cubicBezTo>
                    <a:pt x="876446" y="1119400"/>
                    <a:pt x="914056" y="1204099"/>
                    <a:pt x="880475" y="1284765"/>
                  </a:cubicBezTo>
                  <a:cubicBezTo>
                    <a:pt x="868386" y="1314343"/>
                    <a:pt x="845551" y="1341231"/>
                    <a:pt x="813313" y="1366775"/>
                  </a:cubicBezTo>
                  <a:cubicBezTo>
                    <a:pt x="712571" y="1443408"/>
                    <a:pt x="584963" y="1456852"/>
                    <a:pt x="460042" y="1468952"/>
                  </a:cubicBezTo>
                  <a:cubicBezTo>
                    <a:pt x="435864" y="1471641"/>
                    <a:pt x="410342" y="1474330"/>
                    <a:pt x="386164" y="1477019"/>
                  </a:cubicBezTo>
                  <a:cubicBezTo>
                    <a:pt x="281392" y="1489119"/>
                    <a:pt x="97368" y="1532140"/>
                    <a:pt x="49012" y="1675995"/>
                  </a:cubicBezTo>
                  <a:cubicBezTo>
                    <a:pt x="14088" y="1778172"/>
                    <a:pt x="67817" y="1892448"/>
                    <a:pt x="117517" y="1969081"/>
                  </a:cubicBezTo>
                  <a:cubicBezTo>
                    <a:pt x="173933" y="2056469"/>
                    <a:pt x="233035" y="2104869"/>
                    <a:pt x="296167" y="2118313"/>
                  </a:cubicBezTo>
                  <a:cubicBezTo>
                    <a:pt x="366016" y="2133102"/>
                    <a:pt x="439894" y="2103524"/>
                    <a:pt x="497653" y="2076635"/>
                  </a:cubicBezTo>
                  <a:cubicBezTo>
                    <a:pt x="699138" y="1979836"/>
                    <a:pt x="873759" y="1830604"/>
                    <a:pt x="1000024" y="1646417"/>
                  </a:cubicBezTo>
                  <a:lnTo>
                    <a:pt x="1004053" y="1641040"/>
                  </a:lnTo>
                  <a:cubicBezTo>
                    <a:pt x="1034948" y="1596673"/>
                    <a:pt x="1069872" y="1546929"/>
                    <a:pt x="1124944" y="1529452"/>
                  </a:cubicBezTo>
                  <a:cubicBezTo>
                    <a:pt x="1200166" y="1506596"/>
                    <a:pt x="1263298" y="1553651"/>
                    <a:pt x="1323743" y="1598018"/>
                  </a:cubicBezTo>
                  <a:cubicBezTo>
                    <a:pt x="1349265" y="1616840"/>
                    <a:pt x="1377473" y="1637006"/>
                    <a:pt x="1404338" y="1650451"/>
                  </a:cubicBezTo>
                  <a:cubicBezTo>
                    <a:pt x="1535975" y="1714983"/>
                    <a:pt x="1695820" y="1637006"/>
                    <a:pt x="1835516" y="1550963"/>
                  </a:cubicBezTo>
                  <a:cubicBezTo>
                    <a:pt x="1917454" y="1499874"/>
                    <a:pt x="1992675" y="1447441"/>
                    <a:pt x="2016853" y="1368120"/>
                  </a:cubicBezTo>
                  <a:cubicBezTo>
                    <a:pt x="2043718" y="1278043"/>
                    <a:pt x="1995362" y="1187966"/>
                    <a:pt x="1944319" y="1092511"/>
                  </a:cubicBezTo>
                  <a:cubicBezTo>
                    <a:pt x="1889246" y="990335"/>
                    <a:pt x="1832830" y="884124"/>
                    <a:pt x="1875814" y="776570"/>
                  </a:cubicBezTo>
                  <a:cubicBezTo>
                    <a:pt x="1886560" y="748337"/>
                    <a:pt x="1904022" y="722793"/>
                    <a:pt x="1921484" y="698593"/>
                  </a:cubicBezTo>
                  <a:cubicBezTo>
                    <a:pt x="1929543" y="686493"/>
                    <a:pt x="1937603" y="675737"/>
                    <a:pt x="1944319" y="664982"/>
                  </a:cubicBezTo>
                  <a:cubicBezTo>
                    <a:pt x="2045061" y="504995"/>
                    <a:pt x="1987302" y="257619"/>
                    <a:pt x="1822084" y="137965"/>
                  </a:cubicBezTo>
                  <a:lnTo>
                    <a:pt x="1822084" y="137965"/>
                  </a:lnTo>
                  <a:cubicBezTo>
                    <a:pt x="1690447" y="42510"/>
                    <a:pt x="1486275" y="15621"/>
                    <a:pt x="1346578" y="74776"/>
                  </a:cubicBezTo>
                  <a:cubicBezTo>
                    <a:pt x="1256582" y="113765"/>
                    <a:pt x="1069872" y="296608"/>
                    <a:pt x="1028231" y="386685"/>
                  </a:cubicBezTo>
                  <a:cubicBezTo>
                    <a:pt x="998680" y="451217"/>
                    <a:pt x="1032261" y="526506"/>
                    <a:pt x="1080618" y="568183"/>
                  </a:cubicBezTo>
                  <a:cubicBezTo>
                    <a:pt x="1126288" y="607171"/>
                    <a:pt x="1190763" y="631371"/>
                    <a:pt x="1280760" y="642127"/>
                  </a:cubicBezTo>
                  <a:lnTo>
                    <a:pt x="1284790" y="642127"/>
                  </a:lnTo>
                  <a:cubicBezTo>
                    <a:pt x="1306281" y="644815"/>
                    <a:pt x="1330460" y="647504"/>
                    <a:pt x="1353295" y="659604"/>
                  </a:cubicBezTo>
                  <a:cubicBezTo>
                    <a:pt x="1386876" y="679771"/>
                    <a:pt x="1402995" y="717415"/>
                    <a:pt x="1394935" y="760437"/>
                  </a:cubicBezTo>
                  <a:cubicBezTo>
                    <a:pt x="1385532" y="811525"/>
                    <a:pt x="1341206" y="872024"/>
                    <a:pt x="1276730" y="882780"/>
                  </a:cubicBezTo>
                  <a:cubicBezTo>
                    <a:pt x="1201509" y="894880"/>
                    <a:pt x="1133004" y="862613"/>
                    <a:pt x="1065842" y="831692"/>
                  </a:cubicBezTo>
                  <a:cubicBezTo>
                    <a:pt x="1051066" y="824969"/>
                    <a:pt x="1036291" y="818247"/>
                    <a:pt x="1021515" y="811525"/>
                  </a:cubicBezTo>
                  <a:cubicBezTo>
                    <a:pt x="993307" y="795392"/>
                    <a:pt x="950324" y="783292"/>
                    <a:pt x="911370" y="783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87" name="Google Shape;87;p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88" name="Google Shape;88;p4"/>
          <p:cNvSpPr txBox="1">
            <a:spLocks noGrp="1"/>
          </p:cNvSpPr>
          <p:nvPr>
            <p:ph type="body" idx="1"/>
          </p:nvPr>
        </p:nvSpPr>
        <p:spPr>
          <a:xfrm>
            <a:off x="960000" y="1519399"/>
            <a:ext cx="10272000" cy="9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Nunito Light"/>
              <a:buChar char="●"/>
              <a:defRPr>
                <a:solidFill>
                  <a:schemeClr val="hlink"/>
                </a:solidFill>
              </a:defRPr>
            </a:lvl1pPr>
            <a:lvl2pPr marL="1219170" lvl="1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2pPr>
            <a:lvl3pPr marL="1828754" lvl="2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3pPr>
            <a:lvl4pPr marL="2438339" lvl="3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4pPr>
            <a:lvl5pPr marL="3047924" lvl="4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5pPr>
            <a:lvl6pPr marL="3657509" lvl="5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6pPr>
            <a:lvl7pPr marL="4267093" lvl="6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7pPr>
            <a:lvl8pPr marL="4876678" lvl="7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8pPr>
            <a:lvl9pPr marL="5486263" lvl="8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Google Shape;90;p5"/>
          <p:cNvGrpSpPr/>
          <p:nvPr/>
        </p:nvGrpSpPr>
        <p:grpSpPr>
          <a:xfrm>
            <a:off x="-1073848" y="-578380"/>
            <a:ext cx="14086152" cy="8152307"/>
            <a:chOff x="-805386" y="-433785"/>
            <a:chExt cx="10564614" cy="6114230"/>
          </a:xfrm>
        </p:grpSpPr>
        <p:sp>
          <p:nvSpPr>
            <p:cNvPr id="91" name="Google Shape;91;p5"/>
            <p:cNvSpPr/>
            <p:nvPr/>
          </p:nvSpPr>
          <p:spPr>
            <a:xfrm>
              <a:off x="7795495" y="4209879"/>
              <a:ext cx="1963732" cy="1470566"/>
            </a:xfrm>
            <a:custGeom>
              <a:avLst/>
              <a:gdLst/>
              <a:ahLst/>
              <a:cxnLst/>
              <a:rect l="l" t="t" r="r" b="b"/>
              <a:pathLst>
                <a:path w="1402666" h="1050404" extrusionOk="0">
                  <a:moveTo>
                    <a:pt x="1390590" y="220010"/>
                  </a:moveTo>
                  <a:cubicBezTo>
                    <a:pt x="1341656" y="104986"/>
                    <a:pt x="1138665" y="63231"/>
                    <a:pt x="1049244" y="106992"/>
                  </a:cubicBezTo>
                  <a:lnTo>
                    <a:pt x="948311" y="82163"/>
                  </a:lnTo>
                  <a:cubicBezTo>
                    <a:pt x="819042" y="57271"/>
                    <a:pt x="735331" y="-84425"/>
                    <a:pt x="612165" y="73745"/>
                  </a:cubicBezTo>
                  <a:cubicBezTo>
                    <a:pt x="501913" y="215331"/>
                    <a:pt x="563541" y="450502"/>
                    <a:pt x="340053" y="432787"/>
                  </a:cubicBezTo>
                  <a:cubicBezTo>
                    <a:pt x="231164" y="424156"/>
                    <a:pt x="76410" y="304605"/>
                    <a:pt x="14694" y="484224"/>
                  </a:cubicBezTo>
                  <a:cubicBezTo>
                    <a:pt x="-24343" y="597837"/>
                    <a:pt x="21045" y="763789"/>
                    <a:pt x="73456" y="860376"/>
                  </a:cubicBezTo>
                  <a:cubicBezTo>
                    <a:pt x="150548" y="1002447"/>
                    <a:pt x="297363" y="1060394"/>
                    <a:pt x="431515" y="1049011"/>
                  </a:cubicBezTo>
                  <a:cubicBezTo>
                    <a:pt x="474640" y="1045350"/>
                    <a:pt x="576457" y="1035521"/>
                    <a:pt x="590571" y="970081"/>
                  </a:cubicBezTo>
                  <a:cubicBezTo>
                    <a:pt x="702824" y="957413"/>
                    <a:pt x="824497" y="986922"/>
                    <a:pt x="923115" y="908208"/>
                  </a:cubicBezTo>
                  <a:cubicBezTo>
                    <a:pt x="995072" y="850773"/>
                    <a:pt x="1060157" y="789017"/>
                    <a:pt x="1135455" y="736605"/>
                  </a:cubicBezTo>
                  <a:cubicBezTo>
                    <a:pt x="1190061" y="698594"/>
                    <a:pt x="1227392" y="675059"/>
                    <a:pt x="1259846" y="615198"/>
                  </a:cubicBezTo>
                  <a:cubicBezTo>
                    <a:pt x="1311976" y="519049"/>
                    <a:pt x="1442813" y="342768"/>
                    <a:pt x="1390590" y="2200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92" name="Google Shape;92;p5"/>
            <p:cNvGrpSpPr/>
            <p:nvPr/>
          </p:nvGrpSpPr>
          <p:grpSpPr>
            <a:xfrm>
              <a:off x="8153906" y="-433785"/>
              <a:ext cx="1579710" cy="1529704"/>
              <a:chOff x="6273623" y="1651506"/>
              <a:chExt cx="1210413" cy="1172097"/>
            </a:xfrm>
          </p:grpSpPr>
          <p:sp>
            <p:nvSpPr>
              <p:cNvPr id="93" name="Google Shape;93;p5"/>
              <p:cNvSpPr/>
              <p:nvPr/>
            </p:nvSpPr>
            <p:spPr>
              <a:xfrm>
                <a:off x="6387545" y="1784866"/>
                <a:ext cx="608609" cy="416340"/>
              </a:xfrm>
              <a:custGeom>
                <a:avLst/>
                <a:gdLst/>
                <a:ahLst/>
                <a:cxnLst/>
                <a:rect l="l" t="t" r="r" b="b"/>
                <a:pathLst>
                  <a:path w="608609" h="416340" extrusionOk="0">
                    <a:moveTo>
                      <a:pt x="480399" y="192190"/>
                    </a:moveTo>
                    <a:cubicBezTo>
                      <a:pt x="419908" y="152370"/>
                      <a:pt x="359912" y="107730"/>
                      <a:pt x="295403" y="75050"/>
                    </a:cubicBezTo>
                    <a:cubicBezTo>
                      <a:pt x="259584" y="56905"/>
                      <a:pt x="224520" y="30849"/>
                      <a:pt x="185928" y="19712"/>
                    </a:cubicBezTo>
                    <a:cubicBezTo>
                      <a:pt x="158485" y="10582"/>
                      <a:pt x="130200" y="4216"/>
                      <a:pt x="101493" y="709"/>
                    </a:cubicBezTo>
                    <a:cubicBezTo>
                      <a:pt x="68291" y="-1842"/>
                      <a:pt x="15787" y="944"/>
                      <a:pt x="3557" y="35403"/>
                    </a:cubicBezTo>
                    <a:cubicBezTo>
                      <a:pt x="-5327" y="60436"/>
                      <a:pt x="4714" y="96324"/>
                      <a:pt x="9166" y="122979"/>
                    </a:cubicBezTo>
                    <a:cubicBezTo>
                      <a:pt x="10340" y="136233"/>
                      <a:pt x="14721" y="149003"/>
                      <a:pt x="21932" y="160184"/>
                    </a:cubicBezTo>
                    <a:cubicBezTo>
                      <a:pt x="39678" y="186911"/>
                      <a:pt x="59830" y="211959"/>
                      <a:pt x="82135" y="235015"/>
                    </a:cubicBezTo>
                    <a:cubicBezTo>
                      <a:pt x="89828" y="243385"/>
                      <a:pt x="98485" y="250814"/>
                      <a:pt x="107924" y="257147"/>
                    </a:cubicBezTo>
                    <a:cubicBezTo>
                      <a:pt x="124223" y="266092"/>
                      <a:pt x="141308" y="273522"/>
                      <a:pt x="158965" y="279343"/>
                    </a:cubicBezTo>
                    <a:cubicBezTo>
                      <a:pt x="174102" y="284611"/>
                      <a:pt x="188676" y="290825"/>
                      <a:pt x="203694" y="296523"/>
                    </a:cubicBezTo>
                    <a:cubicBezTo>
                      <a:pt x="239435" y="310084"/>
                      <a:pt x="275071" y="319612"/>
                      <a:pt x="311310" y="330662"/>
                    </a:cubicBezTo>
                    <a:cubicBezTo>
                      <a:pt x="358976" y="345198"/>
                      <a:pt x="404708" y="366334"/>
                      <a:pt x="452077" y="382022"/>
                    </a:cubicBezTo>
                    <a:cubicBezTo>
                      <a:pt x="482261" y="392020"/>
                      <a:pt x="511435" y="405067"/>
                      <a:pt x="541219" y="416341"/>
                    </a:cubicBezTo>
                    <a:lnTo>
                      <a:pt x="608614" y="276496"/>
                    </a:lnTo>
                    <a:cubicBezTo>
                      <a:pt x="565789" y="248528"/>
                      <a:pt x="523051" y="220426"/>
                      <a:pt x="480399" y="19219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4" name="Google Shape;94;p5"/>
              <p:cNvSpPr/>
              <p:nvPr/>
            </p:nvSpPr>
            <p:spPr>
              <a:xfrm>
                <a:off x="6273623" y="2098417"/>
                <a:ext cx="572310" cy="357053"/>
              </a:xfrm>
              <a:custGeom>
                <a:avLst/>
                <a:gdLst/>
                <a:ahLst/>
                <a:cxnLst/>
                <a:rect l="l" t="t" r="r" b="b"/>
                <a:pathLst>
                  <a:path w="572310" h="357053" extrusionOk="0">
                    <a:moveTo>
                      <a:pt x="425798" y="175079"/>
                    </a:moveTo>
                    <a:cubicBezTo>
                      <a:pt x="399094" y="158337"/>
                      <a:pt x="370940" y="144324"/>
                      <a:pt x="344734" y="126715"/>
                    </a:cubicBezTo>
                    <a:cubicBezTo>
                      <a:pt x="291392" y="91488"/>
                      <a:pt x="235814" y="59773"/>
                      <a:pt x="178352" y="31773"/>
                    </a:cubicBezTo>
                    <a:cubicBezTo>
                      <a:pt x="157363" y="23060"/>
                      <a:pt x="135615" y="16304"/>
                      <a:pt x="113385" y="11590"/>
                    </a:cubicBezTo>
                    <a:cubicBezTo>
                      <a:pt x="100076" y="6607"/>
                      <a:pt x="86302" y="2971"/>
                      <a:pt x="72269" y="736"/>
                    </a:cubicBezTo>
                    <a:cubicBezTo>
                      <a:pt x="43571" y="-1795"/>
                      <a:pt x="12578" y="981"/>
                      <a:pt x="2477" y="28772"/>
                    </a:cubicBezTo>
                    <a:cubicBezTo>
                      <a:pt x="-5264" y="50070"/>
                      <a:pt x="6609" y="79033"/>
                      <a:pt x="18268" y="98709"/>
                    </a:cubicBezTo>
                    <a:cubicBezTo>
                      <a:pt x="35944" y="127406"/>
                      <a:pt x="56942" y="153919"/>
                      <a:pt x="80826" y="177697"/>
                    </a:cubicBezTo>
                    <a:cubicBezTo>
                      <a:pt x="110239" y="207502"/>
                      <a:pt x="155501" y="232116"/>
                      <a:pt x="193697" y="248881"/>
                    </a:cubicBezTo>
                    <a:cubicBezTo>
                      <a:pt x="264629" y="280450"/>
                      <a:pt x="338406" y="305188"/>
                      <a:pt x="414027" y="322757"/>
                    </a:cubicBezTo>
                    <a:cubicBezTo>
                      <a:pt x="447241" y="330287"/>
                      <a:pt x="480779" y="341369"/>
                      <a:pt x="513676" y="351089"/>
                    </a:cubicBezTo>
                    <a:cubicBezTo>
                      <a:pt x="520190" y="353013"/>
                      <a:pt x="526414" y="355014"/>
                      <a:pt x="532601" y="357053"/>
                    </a:cubicBezTo>
                    <a:lnTo>
                      <a:pt x="572315" y="274647"/>
                    </a:lnTo>
                    <a:cubicBezTo>
                      <a:pt x="542730" y="253682"/>
                      <a:pt x="513133" y="232816"/>
                      <a:pt x="483037" y="212997"/>
                    </a:cubicBezTo>
                    <a:cubicBezTo>
                      <a:pt x="463957" y="200433"/>
                      <a:pt x="445150" y="187212"/>
                      <a:pt x="425798" y="17507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5" name="Google Shape;95;p5"/>
              <p:cNvSpPr/>
              <p:nvPr/>
            </p:nvSpPr>
            <p:spPr>
              <a:xfrm>
                <a:off x="6711488" y="2455470"/>
                <a:ext cx="409719" cy="368133"/>
              </a:xfrm>
              <a:custGeom>
                <a:avLst/>
                <a:gdLst/>
                <a:ahLst/>
                <a:cxnLst/>
                <a:rect l="l" t="t" r="r" b="b"/>
                <a:pathLst>
                  <a:path w="409719" h="368133" extrusionOk="0">
                    <a:moveTo>
                      <a:pt x="67405" y="258859"/>
                    </a:moveTo>
                    <a:cubicBezTo>
                      <a:pt x="97664" y="284421"/>
                      <a:pt x="129874" y="307579"/>
                      <a:pt x="163740" y="328120"/>
                    </a:cubicBezTo>
                    <a:cubicBezTo>
                      <a:pt x="194307" y="348174"/>
                      <a:pt x="223086" y="365401"/>
                      <a:pt x="259128" y="367602"/>
                    </a:cubicBezTo>
                    <a:cubicBezTo>
                      <a:pt x="300952" y="370158"/>
                      <a:pt x="350576" y="364419"/>
                      <a:pt x="372350" y="329963"/>
                    </a:cubicBezTo>
                    <a:cubicBezTo>
                      <a:pt x="391024" y="300415"/>
                      <a:pt x="417900" y="260817"/>
                      <a:pt x="407344" y="222614"/>
                    </a:cubicBezTo>
                    <a:cubicBezTo>
                      <a:pt x="403209" y="210389"/>
                      <a:pt x="396440" y="199222"/>
                      <a:pt x="387515" y="189903"/>
                    </a:cubicBezTo>
                    <a:cubicBezTo>
                      <a:pt x="373343" y="170696"/>
                      <a:pt x="356243" y="153836"/>
                      <a:pt x="336840" y="139940"/>
                    </a:cubicBezTo>
                    <a:cubicBezTo>
                      <a:pt x="310725" y="121340"/>
                      <a:pt x="286199" y="101447"/>
                      <a:pt x="258414" y="85143"/>
                    </a:cubicBezTo>
                    <a:cubicBezTo>
                      <a:pt x="227137" y="66789"/>
                      <a:pt x="194910" y="50399"/>
                      <a:pt x="163998" y="31346"/>
                    </a:cubicBezTo>
                    <a:cubicBezTo>
                      <a:pt x="142258" y="18142"/>
                      <a:pt x="119002" y="7617"/>
                      <a:pt x="94736" y="0"/>
                    </a:cubicBezTo>
                    <a:lnTo>
                      <a:pt x="5" y="196562"/>
                    </a:lnTo>
                    <a:cubicBezTo>
                      <a:pt x="22565" y="217150"/>
                      <a:pt x="44675" y="238265"/>
                      <a:pt x="67405" y="25885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6" name="Google Shape;96;p5"/>
              <p:cNvSpPr/>
              <p:nvPr/>
            </p:nvSpPr>
            <p:spPr>
              <a:xfrm>
                <a:off x="6381962" y="2447554"/>
                <a:ext cx="329526" cy="292546"/>
              </a:xfrm>
              <a:custGeom>
                <a:avLst/>
                <a:gdLst/>
                <a:ahLst/>
                <a:cxnLst/>
                <a:rect l="l" t="t" r="r" b="b"/>
                <a:pathLst>
                  <a:path w="329526" h="292546" extrusionOk="0">
                    <a:moveTo>
                      <a:pt x="108585" y="40492"/>
                    </a:moveTo>
                    <a:cubicBezTo>
                      <a:pt x="90590" y="29713"/>
                      <a:pt x="71185" y="20036"/>
                      <a:pt x="52516" y="10716"/>
                    </a:cubicBezTo>
                    <a:cubicBezTo>
                      <a:pt x="39193" y="4066"/>
                      <a:pt x="27733" y="-2518"/>
                      <a:pt x="13515" y="963"/>
                    </a:cubicBezTo>
                    <a:cubicBezTo>
                      <a:pt x="-7245" y="6045"/>
                      <a:pt x="702" y="27195"/>
                      <a:pt x="6160" y="43801"/>
                    </a:cubicBezTo>
                    <a:cubicBezTo>
                      <a:pt x="14383" y="66978"/>
                      <a:pt x="25147" y="89172"/>
                      <a:pt x="38253" y="109979"/>
                    </a:cubicBezTo>
                    <a:cubicBezTo>
                      <a:pt x="52833" y="133835"/>
                      <a:pt x="63956" y="158977"/>
                      <a:pt x="88300" y="175693"/>
                    </a:cubicBezTo>
                    <a:cubicBezTo>
                      <a:pt x="105613" y="187582"/>
                      <a:pt x="123507" y="198768"/>
                      <a:pt x="141055" y="210313"/>
                    </a:cubicBezTo>
                    <a:cubicBezTo>
                      <a:pt x="152353" y="217746"/>
                      <a:pt x="163464" y="226715"/>
                      <a:pt x="175310" y="233102"/>
                    </a:cubicBezTo>
                    <a:cubicBezTo>
                      <a:pt x="183056" y="237280"/>
                      <a:pt x="191022" y="239243"/>
                      <a:pt x="198691" y="243622"/>
                    </a:cubicBezTo>
                    <a:cubicBezTo>
                      <a:pt x="227782" y="260227"/>
                      <a:pt x="259151" y="273466"/>
                      <a:pt x="287088" y="292547"/>
                    </a:cubicBezTo>
                    <a:lnTo>
                      <a:pt x="329531" y="204479"/>
                    </a:lnTo>
                    <a:cubicBezTo>
                      <a:pt x="302564" y="179240"/>
                      <a:pt x="273961" y="155809"/>
                      <a:pt x="243910" y="134339"/>
                    </a:cubicBezTo>
                    <a:cubicBezTo>
                      <a:pt x="198868" y="102977"/>
                      <a:pt x="155846" y="68802"/>
                      <a:pt x="108585" y="4049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7" name="Google Shape;97;p5"/>
              <p:cNvSpPr/>
              <p:nvPr/>
            </p:nvSpPr>
            <p:spPr>
              <a:xfrm>
                <a:off x="6651890" y="1651506"/>
                <a:ext cx="447863" cy="273263"/>
              </a:xfrm>
              <a:custGeom>
                <a:avLst/>
                <a:gdLst/>
                <a:ahLst/>
                <a:cxnLst/>
                <a:rect l="l" t="t" r="r" b="b"/>
                <a:pathLst>
                  <a:path w="447863" h="273263" extrusionOk="0">
                    <a:moveTo>
                      <a:pt x="435612" y="182642"/>
                    </a:moveTo>
                    <a:cubicBezTo>
                      <a:pt x="427988" y="175557"/>
                      <a:pt x="418831" y="171418"/>
                      <a:pt x="411318" y="163525"/>
                    </a:cubicBezTo>
                    <a:cubicBezTo>
                      <a:pt x="403123" y="154919"/>
                      <a:pt x="394766" y="146455"/>
                      <a:pt x="386549" y="137866"/>
                    </a:cubicBezTo>
                    <a:cubicBezTo>
                      <a:pt x="361545" y="113074"/>
                      <a:pt x="333744" y="91274"/>
                      <a:pt x="303706" y="72907"/>
                    </a:cubicBezTo>
                    <a:cubicBezTo>
                      <a:pt x="289401" y="62194"/>
                      <a:pt x="274498" y="52303"/>
                      <a:pt x="259070" y="43283"/>
                    </a:cubicBezTo>
                    <a:cubicBezTo>
                      <a:pt x="249691" y="38588"/>
                      <a:pt x="241539" y="36051"/>
                      <a:pt x="232375" y="30465"/>
                    </a:cubicBezTo>
                    <a:cubicBezTo>
                      <a:pt x="222889" y="26080"/>
                      <a:pt x="213035" y="22543"/>
                      <a:pt x="202927" y="19892"/>
                    </a:cubicBezTo>
                    <a:cubicBezTo>
                      <a:pt x="184724" y="11873"/>
                      <a:pt x="165261" y="7096"/>
                      <a:pt x="145415" y="5778"/>
                    </a:cubicBezTo>
                    <a:cubicBezTo>
                      <a:pt x="136104" y="6048"/>
                      <a:pt x="126785" y="5751"/>
                      <a:pt x="117510" y="4891"/>
                    </a:cubicBezTo>
                    <a:cubicBezTo>
                      <a:pt x="105401" y="1602"/>
                      <a:pt x="92906" y="-43"/>
                      <a:pt x="80359" y="1"/>
                    </a:cubicBezTo>
                    <a:cubicBezTo>
                      <a:pt x="45840" y="2603"/>
                      <a:pt x="25992" y="19077"/>
                      <a:pt x="8432" y="45111"/>
                    </a:cubicBezTo>
                    <a:cubicBezTo>
                      <a:pt x="-209" y="57921"/>
                      <a:pt x="-5838" y="75130"/>
                      <a:pt x="10191" y="88700"/>
                    </a:cubicBezTo>
                    <a:cubicBezTo>
                      <a:pt x="32044" y="105092"/>
                      <a:pt x="56144" y="118249"/>
                      <a:pt x="81748" y="127764"/>
                    </a:cubicBezTo>
                    <a:cubicBezTo>
                      <a:pt x="102298" y="136376"/>
                      <a:pt x="122721" y="141857"/>
                      <a:pt x="143372" y="149278"/>
                    </a:cubicBezTo>
                    <a:cubicBezTo>
                      <a:pt x="155004" y="153459"/>
                      <a:pt x="166872" y="156114"/>
                      <a:pt x="178460" y="160465"/>
                    </a:cubicBezTo>
                    <a:cubicBezTo>
                      <a:pt x="188627" y="164853"/>
                      <a:pt x="198408" y="170089"/>
                      <a:pt x="207699" y="176117"/>
                    </a:cubicBezTo>
                    <a:cubicBezTo>
                      <a:pt x="228978" y="187569"/>
                      <a:pt x="251162" y="197253"/>
                      <a:pt x="274028" y="205070"/>
                    </a:cubicBezTo>
                    <a:cubicBezTo>
                      <a:pt x="303156" y="217350"/>
                      <a:pt x="331449" y="231525"/>
                      <a:pt x="358725" y="247506"/>
                    </a:cubicBezTo>
                    <a:cubicBezTo>
                      <a:pt x="375703" y="256420"/>
                      <a:pt x="392867" y="264914"/>
                      <a:pt x="410097" y="273263"/>
                    </a:cubicBezTo>
                    <a:lnTo>
                      <a:pt x="447868" y="194891"/>
                    </a:lnTo>
                    <a:cubicBezTo>
                      <a:pt x="443582" y="191015"/>
                      <a:pt x="440365" y="187057"/>
                      <a:pt x="435612" y="18264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8" name="Google Shape;98;p5"/>
              <p:cNvSpPr/>
              <p:nvPr/>
            </p:nvSpPr>
            <p:spPr>
              <a:xfrm>
                <a:off x="7099753" y="1759023"/>
                <a:ext cx="256859" cy="248347"/>
              </a:xfrm>
              <a:custGeom>
                <a:avLst/>
                <a:gdLst/>
                <a:ahLst/>
                <a:cxnLst/>
                <a:rect l="l" t="t" r="r" b="b"/>
                <a:pathLst>
                  <a:path w="256859" h="248347" extrusionOk="0">
                    <a:moveTo>
                      <a:pt x="30179" y="111307"/>
                    </a:moveTo>
                    <a:cubicBezTo>
                      <a:pt x="54914" y="137083"/>
                      <a:pt x="82586" y="159803"/>
                      <a:pt x="107123" y="185249"/>
                    </a:cubicBezTo>
                    <a:cubicBezTo>
                      <a:pt x="134110" y="213235"/>
                      <a:pt x="175207" y="240713"/>
                      <a:pt x="213797" y="247566"/>
                    </a:cubicBezTo>
                    <a:cubicBezTo>
                      <a:pt x="255677" y="255004"/>
                      <a:pt x="260273" y="207614"/>
                      <a:pt x="255203" y="178252"/>
                    </a:cubicBezTo>
                    <a:cubicBezTo>
                      <a:pt x="254406" y="169206"/>
                      <a:pt x="251007" y="160585"/>
                      <a:pt x="245418" y="153431"/>
                    </a:cubicBezTo>
                    <a:cubicBezTo>
                      <a:pt x="240910" y="147491"/>
                      <a:pt x="235930" y="141925"/>
                      <a:pt x="230527" y="136787"/>
                    </a:cubicBezTo>
                    <a:cubicBezTo>
                      <a:pt x="217692" y="123995"/>
                      <a:pt x="202414" y="115110"/>
                      <a:pt x="189297" y="102550"/>
                    </a:cubicBezTo>
                    <a:cubicBezTo>
                      <a:pt x="178255" y="91977"/>
                      <a:pt x="163714" y="84717"/>
                      <a:pt x="151983" y="74641"/>
                    </a:cubicBezTo>
                    <a:cubicBezTo>
                      <a:pt x="140010" y="64766"/>
                      <a:pt x="127397" y="55695"/>
                      <a:pt x="114226" y="47487"/>
                    </a:cubicBezTo>
                    <a:cubicBezTo>
                      <a:pt x="90135" y="31742"/>
                      <a:pt x="66153" y="15825"/>
                      <a:pt x="42113" y="0"/>
                    </a:cubicBezTo>
                    <a:lnTo>
                      <a:pt x="5" y="87375"/>
                    </a:lnTo>
                    <a:cubicBezTo>
                      <a:pt x="1965" y="89174"/>
                      <a:pt x="4055" y="90827"/>
                      <a:pt x="6257" y="92319"/>
                    </a:cubicBezTo>
                    <a:cubicBezTo>
                      <a:pt x="14930" y="97713"/>
                      <a:pt x="22956" y="104084"/>
                      <a:pt x="30179" y="111307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99" name="Google Shape;99;p5"/>
              <p:cNvSpPr/>
              <p:nvPr/>
            </p:nvSpPr>
            <p:spPr>
              <a:xfrm>
                <a:off x="6845934" y="2201206"/>
                <a:ext cx="601812" cy="401738"/>
              </a:xfrm>
              <a:custGeom>
                <a:avLst/>
                <a:gdLst/>
                <a:ahLst/>
                <a:cxnLst/>
                <a:rect l="l" t="t" r="r" b="b"/>
                <a:pathLst>
                  <a:path w="601812" h="401738" extrusionOk="0">
                    <a:moveTo>
                      <a:pt x="596228" y="350482"/>
                    </a:moveTo>
                    <a:cubicBezTo>
                      <a:pt x="602550" y="339045"/>
                      <a:pt x="603560" y="325414"/>
                      <a:pt x="598993" y="313169"/>
                    </a:cubicBezTo>
                    <a:cubicBezTo>
                      <a:pt x="595501" y="302179"/>
                      <a:pt x="591173" y="290556"/>
                      <a:pt x="586545" y="279886"/>
                    </a:cubicBezTo>
                    <a:cubicBezTo>
                      <a:pt x="569044" y="234139"/>
                      <a:pt x="534136" y="197195"/>
                      <a:pt x="489465" y="177144"/>
                    </a:cubicBezTo>
                    <a:cubicBezTo>
                      <a:pt x="462626" y="162397"/>
                      <a:pt x="435702" y="147626"/>
                      <a:pt x="408248" y="134155"/>
                    </a:cubicBezTo>
                    <a:cubicBezTo>
                      <a:pt x="346507" y="103400"/>
                      <a:pt x="282967" y="76403"/>
                      <a:pt x="217974" y="53311"/>
                    </a:cubicBezTo>
                    <a:cubicBezTo>
                      <a:pt x="176515" y="38811"/>
                      <a:pt x="136928" y="19473"/>
                      <a:pt x="95499" y="4781"/>
                    </a:cubicBezTo>
                    <a:cubicBezTo>
                      <a:pt x="91246" y="3273"/>
                      <a:pt x="87050" y="1598"/>
                      <a:pt x="82829" y="0"/>
                    </a:cubicBezTo>
                    <a:lnTo>
                      <a:pt x="5" y="171858"/>
                    </a:lnTo>
                    <a:cubicBezTo>
                      <a:pt x="58392" y="213237"/>
                      <a:pt x="116722" y="255049"/>
                      <a:pt x="178659" y="290275"/>
                    </a:cubicBezTo>
                    <a:cubicBezTo>
                      <a:pt x="209196" y="307642"/>
                      <a:pt x="241321" y="322077"/>
                      <a:pt x="272210" y="338774"/>
                    </a:cubicBezTo>
                    <a:cubicBezTo>
                      <a:pt x="291875" y="349735"/>
                      <a:pt x="312292" y="359286"/>
                      <a:pt x="333308" y="367355"/>
                    </a:cubicBezTo>
                    <a:cubicBezTo>
                      <a:pt x="369802" y="380079"/>
                      <a:pt x="407191" y="390076"/>
                      <a:pt x="445166" y="397261"/>
                    </a:cubicBezTo>
                    <a:cubicBezTo>
                      <a:pt x="463722" y="400705"/>
                      <a:pt x="482607" y="402052"/>
                      <a:pt x="501464" y="401276"/>
                    </a:cubicBezTo>
                    <a:cubicBezTo>
                      <a:pt x="518051" y="402530"/>
                      <a:pt x="534731" y="401233"/>
                      <a:pt x="550924" y="397430"/>
                    </a:cubicBezTo>
                    <a:cubicBezTo>
                      <a:pt x="572281" y="389342"/>
                      <a:pt x="588901" y="372120"/>
                      <a:pt x="596228" y="35048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0" name="Google Shape;100;p5"/>
              <p:cNvSpPr/>
              <p:nvPr/>
            </p:nvSpPr>
            <p:spPr>
              <a:xfrm>
                <a:off x="6996154" y="1924770"/>
                <a:ext cx="487882" cy="356654"/>
              </a:xfrm>
              <a:custGeom>
                <a:avLst/>
                <a:gdLst/>
                <a:ahLst/>
                <a:cxnLst/>
                <a:rect l="l" t="t" r="r" b="b"/>
                <a:pathLst>
                  <a:path w="487882" h="356654" extrusionOk="0">
                    <a:moveTo>
                      <a:pt x="66760" y="184869"/>
                    </a:moveTo>
                    <a:cubicBezTo>
                      <a:pt x="94480" y="204904"/>
                      <a:pt x="123982" y="222772"/>
                      <a:pt x="152468" y="241728"/>
                    </a:cubicBezTo>
                    <a:cubicBezTo>
                      <a:pt x="175072" y="256770"/>
                      <a:pt x="197592" y="267994"/>
                      <a:pt x="221210" y="281123"/>
                    </a:cubicBezTo>
                    <a:cubicBezTo>
                      <a:pt x="251734" y="300018"/>
                      <a:pt x="283548" y="316741"/>
                      <a:pt x="316417" y="331172"/>
                    </a:cubicBezTo>
                    <a:cubicBezTo>
                      <a:pt x="351755" y="344752"/>
                      <a:pt x="390611" y="360898"/>
                      <a:pt x="427183" y="355634"/>
                    </a:cubicBezTo>
                    <a:cubicBezTo>
                      <a:pt x="446674" y="352829"/>
                      <a:pt x="464438" y="348721"/>
                      <a:pt x="475959" y="333318"/>
                    </a:cubicBezTo>
                    <a:cubicBezTo>
                      <a:pt x="485688" y="320550"/>
                      <a:pt x="489722" y="304334"/>
                      <a:pt x="487110" y="288493"/>
                    </a:cubicBezTo>
                    <a:cubicBezTo>
                      <a:pt x="482381" y="269428"/>
                      <a:pt x="472568" y="252004"/>
                      <a:pt x="458718" y="238080"/>
                    </a:cubicBezTo>
                    <a:cubicBezTo>
                      <a:pt x="449620" y="226855"/>
                      <a:pt x="438840" y="217106"/>
                      <a:pt x="426761" y="209181"/>
                    </a:cubicBezTo>
                    <a:cubicBezTo>
                      <a:pt x="389957" y="185229"/>
                      <a:pt x="353399" y="160880"/>
                      <a:pt x="316719" y="136735"/>
                    </a:cubicBezTo>
                    <a:cubicBezTo>
                      <a:pt x="285545" y="116215"/>
                      <a:pt x="253678" y="98413"/>
                      <a:pt x="221627" y="79346"/>
                    </a:cubicBezTo>
                    <a:cubicBezTo>
                      <a:pt x="171275" y="49392"/>
                      <a:pt x="118243" y="25396"/>
                      <a:pt x="65833" y="0"/>
                    </a:cubicBezTo>
                    <a:lnTo>
                      <a:pt x="5" y="136592"/>
                    </a:lnTo>
                    <a:cubicBezTo>
                      <a:pt x="4858" y="139761"/>
                      <a:pt x="9678" y="142985"/>
                      <a:pt x="14536" y="146146"/>
                    </a:cubicBezTo>
                    <a:cubicBezTo>
                      <a:pt x="32937" y="158119"/>
                      <a:pt x="49020" y="172044"/>
                      <a:pt x="66760" y="18486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01" name="Google Shape;101;p5"/>
            <p:cNvGrpSpPr/>
            <p:nvPr/>
          </p:nvGrpSpPr>
          <p:grpSpPr>
            <a:xfrm>
              <a:off x="-805386" y="274048"/>
              <a:ext cx="1401328" cy="1383322"/>
              <a:chOff x="3921280" y="4065381"/>
              <a:chExt cx="1018333" cy="1005248"/>
            </a:xfrm>
          </p:grpSpPr>
          <p:sp>
            <p:nvSpPr>
              <p:cNvPr id="102" name="Google Shape;102;p5"/>
              <p:cNvSpPr/>
              <p:nvPr/>
            </p:nvSpPr>
            <p:spPr>
              <a:xfrm>
                <a:off x="3948097" y="4072964"/>
                <a:ext cx="580775" cy="369810"/>
              </a:xfrm>
              <a:custGeom>
                <a:avLst/>
                <a:gdLst/>
                <a:ahLst/>
                <a:cxnLst/>
                <a:rect l="l" t="t" r="r" b="b"/>
                <a:pathLst>
                  <a:path w="580775" h="369810" extrusionOk="0">
                    <a:moveTo>
                      <a:pt x="59305" y="363077"/>
                    </a:moveTo>
                    <a:cubicBezTo>
                      <a:pt x="76964" y="351506"/>
                      <a:pt x="99452" y="346681"/>
                      <a:pt x="117837" y="335464"/>
                    </a:cubicBezTo>
                    <a:cubicBezTo>
                      <a:pt x="140096" y="320738"/>
                      <a:pt x="161245" y="304398"/>
                      <a:pt x="181114" y="286575"/>
                    </a:cubicBezTo>
                    <a:cubicBezTo>
                      <a:pt x="199253" y="271463"/>
                      <a:pt x="216904" y="255922"/>
                      <a:pt x="235307" y="241136"/>
                    </a:cubicBezTo>
                    <a:cubicBezTo>
                      <a:pt x="256828" y="225855"/>
                      <a:pt x="280021" y="213079"/>
                      <a:pt x="304435" y="203055"/>
                    </a:cubicBezTo>
                    <a:cubicBezTo>
                      <a:pt x="355125" y="178315"/>
                      <a:pt x="405619" y="154111"/>
                      <a:pt x="456855" y="130612"/>
                    </a:cubicBezTo>
                    <a:cubicBezTo>
                      <a:pt x="494105" y="113527"/>
                      <a:pt x="535733" y="93900"/>
                      <a:pt x="567336" y="67241"/>
                    </a:cubicBezTo>
                    <a:cubicBezTo>
                      <a:pt x="607116" y="33683"/>
                      <a:pt x="549746" y="-23215"/>
                      <a:pt x="510236" y="10115"/>
                    </a:cubicBezTo>
                    <a:cubicBezTo>
                      <a:pt x="480083" y="35551"/>
                      <a:pt x="430245" y="55031"/>
                      <a:pt x="394425" y="70461"/>
                    </a:cubicBezTo>
                    <a:cubicBezTo>
                      <a:pt x="344791" y="91842"/>
                      <a:pt x="297461" y="117505"/>
                      <a:pt x="248645" y="140655"/>
                    </a:cubicBezTo>
                    <a:cubicBezTo>
                      <a:pt x="211166" y="159089"/>
                      <a:pt x="176556" y="182860"/>
                      <a:pt x="145894" y="211227"/>
                    </a:cubicBezTo>
                    <a:cubicBezTo>
                      <a:pt x="124484" y="231239"/>
                      <a:pt x="101469" y="249460"/>
                      <a:pt x="77081" y="265706"/>
                    </a:cubicBezTo>
                    <a:cubicBezTo>
                      <a:pt x="58426" y="277180"/>
                      <a:pt x="36683" y="281438"/>
                      <a:pt x="18548" y="293318"/>
                    </a:cubicBezTo>
                    <a:cubicBezTo>
                      <a:pt x="-24756" y="321690"/>
                      <a:pt x="15660" y="391672"/>
                      <a:pt x="59305" y="363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3" name="Google Shape;103;p5"/>
              <p:cNvSpPr/>
              <p:nvPr/>
            </p:nvSpPr>
            <p:spPr>
              <a:xfrm>
                <a:off x="4063101" y="4065381"/>
                <a:ext cx="235196" cy="168615"/>
              </a:xfrm>
              <a:custGeom>
                <a:avLst/>
                <a:gdLst/>
                <a:ahLst/>
                <a:cxnLst/>
                <a:rect l="l" t="t" r="r" b="b"/>
                <a:pathLst>
                  <a:path w="235196" h="168615" extrusionOk="0">
                    <a:moveTo>
                      <a:pt x="20471" y="163025"/>
                    </a:moveTo>
                    <a:cubicBezTo>
                      <a:pt x="41087" y="175380"/>
                      <a:pt x="62567" y="165795"/>
                      <a:pt x="75714" y="148534"/>
                    </a:cubicBezTo>
                    <a:cubicBezTo>
                      <a:pt x="90036" y="129729"/>
                      <a:pt x="122395" y="124670"/>
                      <a:pt x="142832" y="115139"/>
                    </a:cubicBezTo>
                    <a:cubicBezTo>
                      <a:pt x="163912" y="105311"/>
                      <a:pt x="184059" y="85160"/>
                      <a:pt x="206510" y="79364"/>
                    </a:cubicBezTo>
                    <a:cubicBezTo>
                      <a:pt x="256792" y="66381"/>
                      <a:pt x="235477" y="-11561"/>
                      <a:pt x="185043" y="1461"/>
                    </a:cubicBezTo>
                    <a:cubicBezTo>
                      <a:pt x="151681" y="10075"/>
                      <a:pt x="124698" y="35943"/>
                      <a:pt x="92837" y="48798"/>
                    </a:cubicBezTo>
                    <a:cubicBezTo>
                      <a:pt x="56941" y="63281"/>
                      <a:pt x="29840" y="76440"/>
                      <a:pt x="5986" y="107758"/>
                    </a:cubicBezTo>
                    <a:cubicBezTo>
                      <a:pt x="-7331" y="125243"/>
                      <a:pt x="3391" y="152789"/>
                      <a:pt x="20471" y="16302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4" name="Google Shape;104;p5"/>
              <p:cNvSpPr/>
              <p:nvPr/>
            </p:nvSpPr>
            <p:spPr>
              <a:xfrm>
                <a:off x="3921280" y="4122942"/>
                <a:ext cx="783131" cy="485318"/>
              </a:xfrm>
              <a:custGeom>
                <a:avLst/>
                <a:gdLst/>
                <a:ahLst/>
                <a:cxnLst/>
                <a:rect l="l" t="t" r="r" b="b"/>
                <a:pathLst>
                  <a:path w="783131" h="485318" extrusionOk="0">
                    <a:moveTo>
                      <a:pt x="50170" y="483865"/>
                    </a:moveTo>
                    <a:cubicBezTo>
                      <a:pt x="76416" y="477109"/>
                      <a:pt x="102695" y="459032"/>
                      <a:pt x="126937" y="447005"/>
                    </a:cubicBezTo>
                    <a:cubicBezTo>
                      <a:pt x="162196" y="429514"/>
                      <a:pt x="196935" y="411201"/>
                      <a:pt x="231163" y="391766"/>
                    </a:cubicBezTo>
                    <a:cubicBezTo>
                      <a:pt x="268127" y="370777"/>
                      <a:pt x="301754" y="345136"/>
                      <a:pt x="338205" y="323583"/>
                    </a:cubicBezTo>
                    <a:cubicBezTo>
                      <a:pt x="370773" y="304325"/>
                      <a:pt x="407274" y="293069"/>
                      <a:pt x="440624" y="275253"/>
                    </a:cubicBezTo>
                    <a:cubicBezTo>
                      <a:pt x="551914" y="215802"/>
                      <a:pt x="658124" y="143481"/>
                      <a:pt x="764295" y="76219"/>
                    </a:cubicBezTo>
                    <a:cubicBezTo>
                      <a:pt x="808084" y="48479"/>
                      <a:pt x="767616" y="-21463"/>
                      <a:pt x="723538" y="6462"/>
                    </a:cubicBezTo>
                    <a:cubicBezTo>
                      <a:pt x="621378" y="71181"/>
                      <a:pt x="519019" y="138040"/>
                      <a:pt x="413434" y="197910"/>
                    </a:cubicBezTo>
                    <a:cubicBezTo>
                      <a:pt x="380399" y="216642"/>
                      <a:pt x="344586" y="228436"/>
                      <a:pt x="311154" y="246115"/>
                    </a:cubicBezTo>
                    <a:cubicBezTo>
                      <a:pt x="278526" y="263368"/>
                      <a:pt x="249717" y="287288"/>
                      <a:pt x="217991" y="306182"/>
                    </a:cubicBezTo>
                    <a:cubicBezTo>
                      <a:pt x="184857" y="325915"/>
                      <a:pt x="150899" y="344366"/>
                      <a:pt x="116581" y="361945"/>
                    </a:cubicBezTo>
                    <a:cubicBezTo>
                      <a:pt x="90004" y="375558"/>
                      <a:pt x="57692" y="398501"/>
                      <a:pt x="28702" y="405963"/>
                    </a:cubicBezTo>
                    <a:cubicBezTo>
                      <a:pt x="-21590" y="418909"/>
                      <a:pt x="-272" y="496850"/>
                      <a:pt x="50170" y="483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5" name="Google Shape;105;p5"/>
              <p:cNvSpPr/>
              <p:nvPr/>
            </p:nvSpPr>
            <p:spPr>
              <a:xfrm>
                <a:off x="3947907" y="4214911"/>
                <a:ext cx="888984" cy="554549"/>
              </a:xfrm>
              <a:custGeom>
                <a:avLst/>
                <a:gdLst/>
                <a:ahLst/>
                <a:cxnLst/>
                <a:rect l="l" t="t" r="r" b="b"/>
                <a:pathLst>
                  <a:path w="888984" h="554549" extrusionOk="0">
                    <a:moveTo>
                      <a:pt x="258167" y="465864"/>
                    </a:moveTo>
                    <a:cubicBezTo>
                      <a:pt x="331705" y="420676"/>
                      <a:pt x="397088" y="368547"/>
                      <a:pt x="475042" y="329870"/>
                    </a:cubicBezTo>
                    <a:cubicBezTo>
                      <a:pt x="544952" y="295185"/>
                      <a:pt x="619993" y="256594"/>
                      <a:pt x="681758" y="208619"/>
                    </a:cubicBezTo>
                    <a:cubicBezTo>
                      <a:pt x="712132" y="182712"/>
                      <a:pt x="744256" y="158933"/>
                      <a:pt x="777902" y="137451"/>
                    </a:cubicBezTo>
                    <a:cubicBezTo>
                      <a:pt x="810589" y="119674"/>
                      <a:pt x="842067" y="99758"/>
                      <a:pt x="872132" y="77832"/>
                    </a:cubicBezTo>
                    <a:cubicBezTo>
                      <a:pt x="912674" y="46501"/>
                      <a:pt x="872510" y="-23715"/>
                      <a:pt x="831375" y="8075"/>
                    </a:cubicBezTo>
                    <a:cubicBezTo>
                      <a:pt x="775479" y="51272"/>
                      <a:pt x="711439" y="80288"/>
                      <a:pt x="656921" y="125764"/>
                    </a:cubicBezTo>
                    <a:cubicBezTo>
                      <a:pt x="595738" y="176797"/>
                      <a:pt x="520026" y="216606"/>
                      <a:pt x="449213" y="252625"/>
                    </a:cubicBezTo>
                    <a:cubicBezTo>
                      <a:pt x="375376" y="291481"/>
                      <a:pt x="304242" y="335273"/>
                      <a:pt x="236293" y="383703"/>
                    </a:cubicBezTo>
                    <a:cubicBezTo>
                      <a:pt x="201607" y="406384"/>
                      <a:pt x="164028" y="424290"/>
                      <a:pt x="124566" y="436939"/>
                    </a:cubicBezTo>
                    <a:cubicBezTo>
                      <a:pt x="92538" y="448210"/>
                      <a:pt x="60701" y="465426"/>
                      <a:pt x="28384" y="474838"/>
                    </a:cubicBezTo>
                    <a:cubicBezTo>
                      <a:pt x="-21413" y="489341"/>
                      <a:pt x="-227" y="567326"/>
                      <a:pt x="49850" y="552740"/>
                    </a:cubicBezTo>
                    <a:cubicBezTo>
                      <a:pt x="82542" y="543219"/>
                      <a:pt x="113691" y="526182"/>
                      <a:pt x="146032" y="514840"/>
                    </a:cubicBezTo>
                    <a:cubicBezTo>
                      <a:pt x="185046" y="502553"/>
                      <a:pt x="222637" y="486134"/>
                      <a:pt x="258167" y="465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6" name="Google Shape;106;p5"/>
              <p:cNvSpPr/>
              <p:nvPr/>
            </p:nvSpPr>
            <p:spPr>
              <a:xfrm>
                <a:off x="4036751" y="4382052"/>
                <a:ext cx="865539" cy="567450"/>
              </a:xfrm>
              <a:custGeom>
                <a:avLst/>
                <a:gdLst/>
                <a:ahLst/>
                <a:cxnLst/>
                <a:rect l="l" t="t" r="r" b="b"/>
                <a:pathLst>
                  <a:path w="865539" h="567450" extrusionOk="0">
                    <a:moveTo>
                      <a:pt x="336526" y="375326"/>
                    </a:moveTo>
                    <a:cubicBezTo>
                      <a:pt x="366606" y="349102"/>
                      <a:pt x="399001" y="325662"/>
                      <a:pt x="433313" y="305292"/>
                    </a:cubicBezTo>
                    <a:cubicBezTo>
                      <a:pt x="503546" y="263874"/>
                      <a:pt x="575439" y="226412"/>
                      <a:pt x="646955" y="187353"/>
                    </a:cubicBezTo>
                    <a:cubicBezTo>
                      <a:pt x="684804" y="166681"/>
                      <a:pt x="722262" y="145299"/>
                      <a:pt x="760182" y="124756"/>
                    </a:cubicBezTo>
                    <a:cubicBezTo>
                      <a:pt x="791648" y="107711"/>
                      <a:pt x="826333" y="92499"/>
                      <a:pt x="852847" y="68144"/>
                    </a:cubicBezTo>
                    <a:cubicBezTo>
                      <a:pt x="891209" y="32904"/>
                      <a:pt x="833986" y="-24109"/>
                      <a:pt x="795746" y="11019"/>
                    </a:cubicBezTo>
                    <a:cubicBezTo>
                      <a:pt x="767749" y="36737"/>
                      <a:pt x="724114" y="52303"/>
                      <a:pt x="691050" y="70536"/>
                    </a:cubicBezTo>
                    <a:cubicBezTo>
                      <a:pt x="658008" y="88758"/>
                      <a:pt x="625196" y="107401"/>
                      <a:pt x="591990" y="125326"/>
                    </a:cubicBezTo>
                    <a:cubicBezTo>
                      <a:pt x="520568" y="163880"/>
                      <a:pt x="449291" y="201544"/>
                      <a:pt x="379571" y="243179"/>
                    </a:cubicBezTo>
                    <a:cubicBezTo>
                      <a:pt x="316838" y="280641"/>
                      <a:pt x="271136" y="332029"/>
                      <a:pt x="218059" y="380845"/>
                    </a:cubicBezTo>
                    <a:cubicBezTo>
                      <a:pt x="191158" y="404387"/>
                      <a:pt x="160954" y="423860"/>
                      <a:pt x="128411" y="438643"/>
                    </a:cubicBezTo>
                    <a:cubicBezTo>
                      <a:pt x="92489" y="456159"/>
                      <a:pt x="50058" y="466696"/>
                      <a:pt x="17589" y="490159"/>
                    </a:cubicBezTo>
                    <a:cubicBezTo>
                      <a:pt x="-24147" y="520323"/>
                      <a:pt x="16116" y="590438"/>
                      <a:pt x="58346" y="559918"/>
                    </a:cubicBezTo>
                    <a:cubicBezTo>
                      <a:pt x="90390" y="536760"/>
                      <a:pt x="133531" y="525778"/>
                      <a:pt x="169167" y="508400"/>
                    </a:cubicBezTo>
                    <a:cubicBezTo>
                      <a:pt x="203377" y="492244"/>
                      <a:pt x="235382" y="471780"/>
                      <a:pt x="264406" y="447507"/>
                    </a:cubicBezTo>
                    <a:cubicBezTo>
                      <a:pt x="290384" y="425302"/>
                      <a:pt x="310706" y="397627"/>
                      <a:pt x="336526" y="3753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7" name="Google Shape;107;p5"/>
              <p:cNvSpPr/>
              <p:nvPr/>
            </p:nvSpPr>
            <p:spPr>
              <a:xfrm>
                <a:off x="4482797" y="4854026"/>
                <a:ext cx="326877" cy="216603"/>
              </a:xfrm>
              <a:custGeom>
                <a:avLst/>
                <a:gdLst/>
                <a:ahLst/>
                <a:cxnLst/>
                <a:rect l="l" t="t" r="r" b="b"/>
                <a:pathLst>
                  <a:path w="326877" h="216603" extrusionOk="0">
                    <a:moveTo>
                      <a:pt x="256159" y="9881"/>
                    </a:moveTo>
                    <a:cubicBezTo>
                      <a:pt x="226451" y="34402"/>
                      <a:pt x="185089" y="47227"/>
                      <a:pt x="153099" y="68495"/>
                    </a:cubicBezTo>
                    <a:cubicBezTo>
                      <a:pt x="132396" y="82260"/>
                      <a:pt x="120933" y="99541"/>
                      <a:pt x="97506" y="110367"/>
                    </a:cubicBezTo>
                    <a:cubicBezTo>
                      <a:pt x="75159" y="120898"/>
                      <a:pt x="52072" y="129780"/>
                      <a:pt x="28430" y="136941"/>
                    </a:cubicBezTo>
                    <a:cubicBezTo>
                      <a:pt x="-21438" y="151239"/>
                      <a:pt x="-235" y="229216"/>
                      <a:pt x="49898" y="214843"/>
                    </a:cubicBezTo>
                    <a:cubicBezTo>
                      <a:pt x="75419" y="206845"/>
                      <a:pt x="100409" y="197237"/>
                      <a:pt x="124716" y="186078"/>
                    </a:cubicBezTo>
                    <a:cubicBezTo>
                      <a:pt x="154948" y="172989"/>
                      <a:pt x="169691" y="157320"/>
                      <a:pt x="194207" y="138197"/>
                    </a:cubicBezTo>
                    <a:cubicBezTo>
                      <a:pt x="230106" y="110195"/>
                      <a:pt x="277639" y="96408"/>
                      <a:pt x="313258" y="67007"/>
                    </a:cubicBezTo>
                    <a:cubicBezTo>
                      <a:pt x="353376" y="33894"/>
                      <a:pt x="295967" y="-22977"/>
                      <a:pt x="256159" y="9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08" name="Google Shape;108;p5"/>
              <p:cNvSpPr/>
              <p:nvPr/>
            </p:nvSpPr>
            <p:spPr>
              <a:xfrm>
                <a:off x="4207631" y="4583110"/>
                <a:ext cx="731982" cy="470540"/>
              </a:xfrm>
              <a:custGeom>
                <a:avLst/>
                <a:gdLst/>
                <a:ahLst/>
                <a:cxnLst/>
                <a:rect l="l" t="t" r="r" b="b"/>
                <a:pathLst>
                  <a:path w="731982" h="470540" extrusionOk="0">
                    <a:moveTo>
                      <a:pt x="662867" y="11748"/>
                    </a:moveTo>
                    <a:cubicBezTo>
                      <a:pt x="615615" y="58355"/>
                      <a:pt x="551642" y="78125"/>
                      <a:pt x="502036" y="120671"/>
                    </a:cubicBezTo>
                    <a:cubicBezTo>
                      <a:pt x="481878" y="140487"/>
                      <a:pt x="458307" y="156495"/>
                      <a:pt x="432457" y="167923"/>
                    </a:cubicBezTo>
                    <a:cubicBezTo>
                      <a:pt x="405625" y="179865"/>
                      <a:pt x="379703" y="193757"/>
                      <a:pt x="354900" y="209487"/>
                    </a:cubicBezTo>
                    <a:cubicBezTo>
                      <a:pt x="298547" y="242147"/>
                      <a:pt x="247639" y="282323"/>
                      <a:pt x="188042" y="309803"/>
                    </a:cubicBezTo>
                    <a:cubicBezTo>
                      <a:pt x="129125" y="336969"/>
                      <a:pt x="56509" y="351069"/>
                      <a:pt x="11004" y="400699"/>
                    </a:cubicBezTo>
                    <a:cubicBezTo>
                      <a:pt x="-24073" y="438956"/>
                      <a:pt x="32883" y="496238"/>
                      <a:pt x="68104" y="457824"/>
                    </a:cubicBezTo>
                    <a:cubicBezTo>
                      <a:pt x="112548" y="409352"/>
                      <a:pt x="194574" y="398489"/>
                      <a:pt x="251134" y="367559"/>
                    </a:cubicBezTo>
                    <a:cubicBezTo>
                      <a:pt x="308707" y="336076"/>
                      <a:pt x="362533" y="299227"/>
                      <a:pt x="419651" y="267391"/>
                    </a:cubicBezTo>
                    <a:cubicBezTo>
                      <a:pt x="443080" y="254333"/>
                      <a:pt x="465133" y="242926"/>
                      <a:pt x="489451" y="231323"/>
                    </a:cubicBezTo>
                    <a:cubicBezTo>
                      <a:pt x="519096" y="217177"/>
                      <a:pt x="537373" y="194224"/>
                      <a:pt x="562845" y="174956"/>
                    </a:cubicBezTo>
                    <a:cubicBezTo>
                      <a:pt x="589678" y="154660"/>
                      <a:pt x="623038" y="144338"/>
                      <a:pt x="649972" y="124590"/>
                    </a:cubicBezTo>
                    <a:cubicBezTo>
                      <a:pt x="674606" y="107717"/>
                      <a:pt x="697998" y="89097"/>
                      <a:pt x="719968" y="68874"/>
                    </a:cubicBezTo>
                    <a:cubicBezTo>
                      <a:pt x="757031" y="32315"/>
                      <a:pt x="699924" y="-24804"/>
                      <a:pt x="662867" y="117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109" name="Google Shape;109;p5"/>
          <p:cNvGrpSpPr/>
          <p:nvPr/>
        </p:nvGrpSpPr>
        <p:grpSpPr>
          <a:xfrm>
            <a:off x="-1073847" y="4543464"/>
            <a:ext cx="15809219" cy="4639667"/>
            <a:chOff x="-805385" y="3407598"/>
            <a:chExt cx="11856914" cy="3479750"/>
          </a:xfrm>
        </p:grpSpPr>
        <p:sp>
          <p:nvSpPr>
            <p:cNvPr id="110" name="Google Shape;110;p5"/>
            <p:cNvSpPr/>
            <p:nvPr/>
          </p:nvSpPr>
          <p:spPr>
            <a:xfrm rot="-10171546">
              <a:off x="-633356" y="4603393"/>
              <a:ext cx="2239624" cy="2097859"/>
            </a:xfrm>
            <a:custGeom>
              <a:avLst/>
              <a:gdLst/>
              <a:ahLst/>
              <a:cxnLst/>
              <a:rect l="l" t="t" r="r" b="b"/>
              <a:pathLst>
                <a:path w="1850676" h="1733531" extrusionOk="0">
                  <a:moveTo>
                    <a:pt x="1392436" y="1733532"/>
                  </a:moveTo>
                  <a:cubicBezTo>
                    <a:pt x="1356116" y="1733435"/>
                    <a:pt x="1320056" y="1727407"/>
                    <a:pt x="1285678" y="1715686"/>
                  </a:cubicBezTo>
                  <a:cubicBezTo>
                    <a:pt x="1236246" y="1699120"/>
                    <a:pt x="1202707" y="1667331"/>
                    <a:pt x="1170265" y="1636579"/>
                  </a:cubicBezTo>
                  <a:cubicBezTo>
                    <a:pt x="1134465" y="1602648"/>
                    <a:pt x="1100652" y="1570585"/>
                    <a:pt x="1046178" y="1557516"/>
                  </a:cubicBezTo>
                  <a:cubicBezTo>
                    <a:pt x="936663" y="1531212"/>
                    <a:pt x="787034" y="1537364"/>
                    <a:pt x="645934" y="1573962"/>
                  </a:cubicBezTo>
                  <a:cubicBezTo>
                    <a:pt x="619752" y="1580748"/>
                    <a:pt x="594312" y="1588649"/>
                    <a:pt x="569708" y="1596287"/>
                  </a:cubicBezTo>
                  <a:cubicBezTo>
                    <a:pt x="501149" y="1617576"/>
                    <a:pt x="436413" y="1637672"/>
                    <a:pt x="358035" y="1635267"/>
                  </a:cubicBezTo>
                  <a:cubicBezTo>
                    <a:pt x="254669" y="1632077"/>
                    <a:pt x="171648" y="1597009"/>
                    <a:pt x="111287" y="1531026"/>
                  </a:cubicBezTo>
                  <a:cubicBezTo>
                    <a:pt x="1920" y="1411486"/>
                    <a:pt x="-4410" y="1219941"/>
                    <a:pt x="1554" y="1116410"/>
                  </a:cubicBezTo>
                  <a:cubicBezTo>
                    <a:pt x="8107" y="1002705"/>
                    <a:pt x="65082" y="916910"/>
                    <a:pt x="120184" y="833934"/>
                  </a:cubicBezTo>
                  <a:cubicBezTo>
                    <a:pt x="156891" y="778660"/>
                    <a:pt x="194848" y="721507"/>
                    <a:pt x="216967" y="656868"/>
                  </a:cubicBezTo>
                  <a:cubicBezTo>
                    <a:pt x="240961" y="586755"/>
                    <a:pt x="215209" y="540235"/>
                    <a:pt x="182615" y="481334"/>
                  </a:cubicBezTo>
                  <a:cubicBezTo>
                    <a:pt x="172598" y="463226"/>
                    <a:pt x="162238" y="444518"/>
                    <a:pt x="152740" y="423951"/>
                  </a:cubicBezTo>
                  <a:cubicBezTo>
                    <a:pt x="135263" y="386107"/>
                    <a:pt x="109998" y="314530"/>
                    <a:pt x="137219" y="260338"/>
                  </a:cubicBezTo>
                  <a:cubicBezTo>
                    <a:pt x="151932" y="231046"/>
                    <a:pt x="179130" y="211474"/>
                    <a:pt x="218109" y="202115"/>
                  </a:cubicBezTo>
                  <a:cubicBezTo>
                    <a:pt x="233358" y="184870"/>
                    <a:pt x="291950" y="118603"/>
                    <a:pt x="292911" y="117516"/>
                  </a:cubicBezTo>
                  <a:cubicBezTo>
                    <a:pt x="386915" y="11220"/>
                    <a:pt x="545185" y="-46895"/>
                    <a:pt x="665864" y="47653"/>
                  </a:cubicBezTo>
                  <a:cubicBezTo>
                    <a:pt x="728262" y="96551"/>
                    <a:pt x="749163" y="170319"/>
                    <a:pt x="755706" y="223593"/>
                  </a:cubicBezTo>
                  <a:cubicBezTo>
                    <a:pt x="757972" y="242056"/>
                    <a:pt x="759469" y="260600"/>
                    <a:pt x="760911" y="278544"/>
                  </a:cubicBezTo>
                  <a:cubicBezTo>
                    <a:pt x="768322" y="370622"/>
                    <a:pt x="774723" y="450145"/>
                    <a:pt x="879443" y="483377"/>
                  </a:cubicBezTo>
                  <a:cubicBezTo>
                    <a:pt x="947576" y="504993"/>
                    <a:pt x="1018346" y="489694"/>
                    <a:pt x="1065714" y="473050"/>
                  </a:cubicBezTo>
                  <a:cubicBezTo>
                    <a:pt x="1076682" y="469192"/>
                    <a:pt x="1087522" y="464920"/>
                    <a:pt x="1098369" y="460647"/>
                  </a:cubicBezTo>
                  <a:cubicBezTo>
                    <a:pt x="1124661" y="449293"/>
                    <a:pt x="1152031" y="440620"/>
                    <a:pt x="1180062" y="434759"/>
                  </a:cubicBezTo>
                  <a:cubicBezTo>
                    <a:pt x="1214374" y="428050"/>
                    <a:pt x="1249918" y="436281"/>
                    <a:pt x="1277792" y="457391"/>
                  </a:cubicBezTo>
                  <a:cubicBezTo>
                    <a:pt x="1333641" y="498676"/>
                    <a:pt x="1362178" y="582722"/>
                    <a:pt x="1370256" y="647613"/>
                  </a:cubicBezTo>
                  <a:cubicBezTo>
                    <a:pt x="1376171" y="695128"/>
                    <a:pt x="1366482" y="741538"/>
                    <a:pt x="1357110" y="786420"/>
                  </a:cubicBezTo>
                  <a:cubicBezTo>
                    <a:pt x="1346280" y="838283"/>
                    <a:pt x="1336055" y="887262"/>
                    <a:pt x="1348721" y="936350"/>
                  </a:cubicBezTo>
                  <a:cubicBezTo>
                    <a:pt x="1354781" y="963365"/>
                    <a:pt x="1371188" y="986926"/>
                    <a:pt x="1394418" y="1001973"/>
                  </a:cubicBezTo>
                  <a:cubicBezTo>
                    <a:pt x="1424582" y="1019698"/>
                    <a:pt x="1464577" y="1012038"/>
                    <a:pt x="1506920" y="1003929"/>
                  </a:cubicBezTo>
                  <a:cubicBezTo>
                    <a:pt x="1559777" y="993810"/>
                    <a:pt x="1614425" y="983374"/>
                    <a:pt x="1655720" y="1022758"/>
                  </a:cubicBezTo>
                  <a:cubicBezTo>
                    <a:pt x="1673891" y="1040100"/>
                    <a:pt x="1678746" y="1063803"/>
                    <a:pt x="1683027" y="1084719"/>
                  </a:cubicBezTo>
                  <a:cubicBezTo>
                    <a:pt x="1684027" y="1089615"/>
                    <a:pt x="1685022" y="1094488"/>
                    <a:pt x="1686191" y="1099232"/>
                  </a:cubicBezTo>
                  <a:cubicBezTo>
                    <a:pt x="1695508" y="1137085"/>
                    <a:pt x="1722384" y="1162165"/>
                    <a:pt x="1750838" y="1188709"/>
                  </a:cubicBezTo>
                  <a:cubicBezTo>
                    <a:pt x="1769456" y="1205017"/>
                    <a:pt x="1786430" y="1223113"/>
                    <a:pt x="1801516" y="1242737"/>
                  </a:cubicBezTo>
                  <a:cubicBezTo>
                    <a:pt x="1812476" y="1257849"/>
                    <a:pt x="1821933" y="1273997"/>
                    <a:pt x="1829752" y="1290951"/>
                  </a:cubicBezTo>
                  <a:lnTo>
                    <a:pt x="1829752" y="1290951"/>
                  </a:lnTo>
                  <a:cubicBezTo>
                    <a:pt x="1913620" y="1473840"/>
                    <a:pt x="1725044" y="1592026"/>
                    <a:pt x="1623732" y="1655528"/>
                  </a:cubicBezTo>
                  <a:cubicBezTo>
                    <a:pt x="1562262" y="1694048"/>
                    <a:pt x="1484523" y="1733532"/>
                    <a:pt x="1392436" y="1733532"/>
                  </a:cubicBezTo>
                  <a:close/>
                  <a:moveTo>
                    <a:pt x="894484" y="1507881"/>
                  </a:moveTo>
                  <a:cubicBezTo>
                    <a:pt x="948137" y="1507342"/>
                    <a:pt x="1001671" y="1513041"/>
                    <a:pt x="1054010" y="1524863"/>
                  </a:cubicBezTo>
                  <a:cubicBezTo>
                    <a:pt x="1117211" y="1540042"/>
                    <a:pt x="1155918" y="1576727"/>
                    <a:pt x="1193345" y="1612210"/>
                  </a:cubicBezTo>
                  <a:cubicBezTo>
                    <a:pt x="1224509" y="1641748"/>
                    <a:pt x="1253941" y="1669647"/>
                    <a:pt x="1296340" y="1683864"/>
                  </a:cubicBezTo>
                  <a:cubicBezTo>
                    <a:pt x="1396340" y="1717359"/>
                    <a:pt x="1488930" y="1700409"/>
                    <a:pt x="1605916" y="1627072"/>
                  </a:cubicBezTo>
                  <a:cubicBezTo>
                    <a:pt x="1734088" y="1546741"/>
                    <a:pt x="1865301" y="1448980"/>
                    <a:pt x="1799256" y="1304950"/>
                  </a:cubicBezTo>
                  <a:lnTo>
                    <a:pt x="1799256" y="1304960"/>
                  </a:lnTo>
                  <a:cubicBezTo>
                    <a:pt x="1792352" y="1289997"/>
                    <a:pt x="1784004" y="1275745"/>
                    <a:pt x="1774328" y="1262407"/>
                  </a:cubicBezTo>
                  <a:cubicBezTo>
                    <a:pt x="1760504" y="1244557"/>
                    <a:pt x="1744972" y="1228098"/>
                    <a:pt x="1727954" y="1213264"/>
                  </a:cubicBezTo>
                  <a:cubicBezTo>
                    <a:pt x="1697157" y="1184523"/>
                    <a:pt x="1665311" y="1154821"/>
                    <a:pt x="1653607" y="1107253"/>
                  </a:cubicBezTo>
                  <a:cubicBezTo>
                    <a:pt x="1652334" y="1102084"/>
                    <a:pt x="1651247" y="1096783"/>
                    <a:pt x="1650155" y="1091461"/>
                  </a:cubicBezTo>
                  <a:cubicBezTo>
                    <a:pt x="1646539" y="1073813"/>
                    <a:pt x="1643126" y="1057137"/>
                    <a:pt x="1632557" y="1047050"/>
                  </a:cubicBezTo>
                  <a:cubicBezTo>
                    <a:pt x="1603749" y="1019577"/>
                    <a:pt x="1559771" y="1027992"/>
                    <a:pt x="1513228" y="1036909"/>
                  </a:cubicBezTo>
                  <a:cubicBezTo>
                    <a:pt x="1466646" y="1045826"/>
                    <a:pt x="1418487" y="1055060"/>
                    <a:pt x="1377422" y="1030910"/>
                  </a:cubicBezTo>
                  <a:cubicBezTo>
                    <a:pt x="1346504" y="1011344"/>
                    <a:pt x="1324525" y="980391"/>
                    <a:pt x="1316236" y="944743"/>
                  </a:cubicBezTo>
                  <a:cubicBezTo>
                    <a:pt x="1301605" y="888060"/>
                    <a:pt x="1313122" y="832907"/>
                    <a:pt x="1324264" y="779557"/>
                  </a:cubicBezTo>
                  <a:cubicBezTo>
                    <a:pt x="1333478" y="735419"/>
                    <a:pt x="1342184" y="693729"/>
                    <a:pt x="1336962" y="651766"/>
                  </a:cubicBezTo>
                  <a:cubicBezTo>
                    <a:pt x="1330070" y="596437"/>
                    <a:pt x="1305214" y="519396"/>
                    <a:pt x="1257851" y="484393"/>
                  </a:cubicBezTo>
                  <a:cubicBezTo>
                    <a:pt x="1237376" y="468739"/>
                    <a:pt x="1211140" y="462700"/>
                    <a:pt x="1185885" y="467827"/>
                  </a:cubicBezTo>
                  <a:cubicBezTo>
                    <a:pt x="1160066" y="473309"/>
                    <a:pt x="1134862" y="481371"/>
                    <a:pt x="1110652" y="491890"/>
                  </a:cubicBezTo>
                  <a:cubicBezTo>
                    <a:pt x="1099429" y="496316"/>
                    <a:pt x="1088195" y="500731"/>
                    <a:pt x="1076834" y="504719"/>
                  </a:cubicBezTo>
                  <a:cubicBezTo>
                    <a:pt x="1024633" y="523056"/>
                    <a:pt x="946254" y="539820"/>
                    <a:pt x="869296" y="515374"/>
                  </a:cubicBezTo>
                  <a:cubicBezTo>
                    <a:pt x="743085" y="475323"/>
                    <a:pt x="735143" y="376655"/>
                    <a:pt x="727464" y="281243"/>
                  </a:cubicBezTo>
                  <a:cubicBezTo>
                    <a:pt x="726050" y="263650"/>
                    <a:pt x="724581" y="245454"/>
                    <a:pt x="722401" y="227691"/>
                  </a:cubicBezTo>
                  <a:cubicBezTo>
                    <a:pt x="716628" y="180701"/>
                    <a:pt x="698539" y="115904"/>
                    <a:pt x="645175" y="74082"/>
                  </a:cubicBezTo>
                  <a:cubicBezTo>
                    <a:pt x="540822" y="-7663"/>
                    <a:pt x="401639" y="45227"/>
                    <a:pt x="318077" y="139721"/>
                  </a:cubicBezTo>
                  <a:lnTo>
                    <a:pt x="317362" y="139087"/>
                  </a:lnTo>
                  <a:cubicBezTo>
                    <a:pt x="309683" y="149218"/>
                    <a:pt x="290010" y="171461"/>
                    <a:pt x="239650" y="228417"/>
                  </a:cubicBezTo>
                  <a:lnTo>
                    <a:pt x="235969" y="232587"/>
                  </a:lnTo>
                  <a:lnTo>
                    <a:pt x="230528" y="233728"/>
                  </a:lnTo>
                  <a:cubicBezTo>
                    <a:pt x="199087" y="240324"/>
                    <a:pt x="177781" y="254349"/>
                    <a:pt x="167202" y="275408"/>
                  </a:cubicBezTo>
                  <a:cubicBezTo>
                    <a:pt x="146307" y="317021"/>
                    <a:pt x="168257" y="377519"/>
                    <a:pt x="183205" y="409876"/>
                  </a:cubicBezTo>
                  <a:cubicBezTo>
                    <a:pt x="192189" y="429327"/>
                    <a:pt x="202243" y="447501"/>
                    <a:pt x="211971" y="465073"/>
                  </a:cubicBezTo>
                  <a:cubicBezTo>
                    <a:pt x="245684" y="525996"/>
                    <a:pt x="277531" y="583531"/>
                    <a:pt x="248710" y="667753"/>
                  </a:cubicBezTo>
                  <a:cubicBezTo>
                    <a:pt x="225193" y="736479"/>
                    <a:pt x="186018" y="795468"/>
                    <a:pt x="148135" y="852511"/>
                  </a:cubicBezTo>
                  <a:cubicBezTo>
                    <a:pt x="93084" y="935410"/>
                    <a:pt x="41084" y="1013709"/>
                    <a:pt x="35055" y="1118333"/>
                  </a:cubicBezTo>
                  <a:cubicBezTo>
                    <a:pt x="29396" y="1216586"/>
                    <a:pt x="34989" y="1397914"/>
                    <a:pt x="136039" y="1508362"/>
                  </a:cubicBezTo>
                  <a:cubicBezTo>
                    <a:pt x="190059" y="1567406"/>
                    <a:pt x="265095" y="1598812"/>
                    <a:pt x="359071" y="1601719"/>
                  </a:cubicBezTo>
                  <a:cubicBezTo>
                    <a:pt x="431798" y="1603937"/>
                    <a:pt x="493967" y="1584650"/>
                    <a:pt x="559762" y="1564225"/>
                  </a:cubicBezTo>
                  <a:cubicBezTo>
                    <a:pt x="584737" y="1556477"/>
                    <a:pt x="610560" y="1548456"/>
                    <a:pt x="637513" y="1541462"/>
                  </a:cubicBezTo>
                  <a:cubicBezTo>
                    <a:pt x="721437" y="1519605"/>
                    <a:pt x="807763" y="1508324"/>
                    <a:pt x="894484" y="15078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11" name="Google Shape;111;p5"/>
            <p:cNvSpPr/>
            <p:nvPr/>
          </p:nvSpPr>
          <p:spPr>
            <a:xfrm>
              <a:off x="8705096" y="3407598"/>
              <a:ext cx="2346433" cy="1683429"/>
            </a:xfrm>
            <a:custGeom>
              <a:avLst/>
              <a:gdLst/>
              <a:ahLst/>
              <a:cxnLst/>
              <a:rect l="l" t="t" r="r" b="b"/>
              <a:pathLst>
                <a:path w="1939201" h="1391264" extrusionOk="0">
                  <a:moveTo>
                    <a:pt x="1267674" y="1391264"/>
                  </a:moveTo>
                  <a:cubicBezTo>
                    <a:pt x="1161742" y="1391274"/>
                    <a:pt x="1046799" y="1287114"/>
                    <a:pt x="965193" y="1203161"/>
                  </a:cubicBezTo>
                  <a:cubicBezTo>
                    <a:pt x="929503" y="1165024"/>
                    <a:pt x="896376" y="1124564"/>
                    <a:pt x="866032" y="1082047"/>
                  </a:cubicBezTo>
                  <a:cubicBezTo>
                    <a:pt x="780319" y="967117"/>
                    <a:pt x="712597" y="876356"/>
                    <a:pt x="543692" y="913489"/>
                  </a:cubicBezTo>
                  <a:cubicBezTo>
                    <a:pt x="371403" y="951404"/>
                    <a:pt x="246890" y="922045"/>
                    <a:pt x="139974" y="818388"/>
                  </a:cubicBezTo>
                  <a:cubicBezTo>
                    <a:pt x="31933" y="713650"/>
                    <a:pt x="-22125" y="551021"/>
                    <a:pt x="8504" y="422897"/>
                  </a:cubicBezTo>
                  <a:cubicBezTo>
                    <a:pt x="39606" y="285532"/>
                    <a:pt x="127951" y="168035"/>
                    <a:pt x="251249" y="100053"/>
                  </a:cubicBezTo>
                  <a:cubicBezTo>
                    <a:pt x="484707" y="-34531"/>
                    <a:pt x="799358" y="-12948"/>
                    <a:pt x="997853" y="46424"/>
                  </a:cubicBezTo>
                  <a:cubicBezTo>
                    <a:pt x="1100519" y="77131"/>
                    <a:pt x="1189137" y="140666"/>
                    <a:pt x="1274841" y="202108"/>
                  </a:cubicBezTo>
                  <a:cubicBezTo>
                    <a:pt x="1365470" y="267085"/>
                    <a:pt x="1451073" y="328457"/>
                    <a:pt x="1550977" y="353335"/>
                  </a:cubicBezTo>
                  <a:cubicBezTo>
                    <a:pt x="1560483" y="355578"/>
                    <a:pt x="1570377" y="355617"/>
                    <a:pt x="1579900" y="353449"/>
                  </a:cubicBezTo>
                  <a:cubicBezTo>
                    <a:pt x="1591653" y="351051"/>
                    <a:pt x="1603746" y="350842"/>
                    <a:pt x="1615574" y="352831"/>
                  </a:cubicBezTo>
                  <a:cubicBezTo>
                    <a:pt x="1805092" y="387583"/>
                    <a:pt x="1821071" y="429005"/>
                    <a:pt x="1826325" y="442616"/>
                  </a:cubicBezTo>
                  <a:cubicBezTo>
                    <a:pt x="1830697" y="453810"/>
                    <a:pt x="1830174" y="466325"/>
                    <a:pt x="1824884" y="477115"/>
                  </a:cubicBezTo>
                  <a:cubicBezTo>
                    <a:pt x="1933700" y="626500"/>
                    <a:pt x="2000856" y="937470"/>
                    <a:pt x="1857009" y="1086811"/>
                  </a:cubicBezTo>
                  <a:cubicBezTo>
                    <a:pt x="1764304" y="1183064"/>
                    <a:pt x="1703037" y="1183485"/>
                    <a:pt x="1585285" y="1161476"/>
                  </a:cubicBezTo>
                  <a:lnTo>
                    <a:pt x="1574111" y="1159361"/>
                  </a:lnTo>
                  <a:cubicBezTo>
                    <a:pt x="1517694" y="1148635"/>
                    <a:pt x="1505984" y="1146423"/>
                    <a:pt x="1468289" y="1184895"/>
                  </a:cubicBezTo>
                  <a:cubicBezTo>
                    <a:pt x="1448637" y="1204969"/>
                    <a:pt x="1435213" y="1233109"/>
                    <a:pt x="1420992" y="1262899"/>
                  </a:cubicBezTo>
                  <a:cubicBezTo>
                    <a:pt x="1397551" y="1312041"/>
                    <a:pt x="1373301" y="1362851"/>
                    <a:pt x="1317594" y="1382778"/>
                  </a:cubicBezTo>
                  <a:cubicBezTo>
                    <a:pt x="1301569" y="1388468"/>
                    <a:pt x="1284680" y="1391339"/>
                    <a:pt x="1267675" y="1391264"/>
                  </a:cubicBezTo>
                  <a:close/>
                  <a:moveTo>
                    <a:pt x="615008" y="871547"/>
                  </a:moveTo>
                  <a:cubicBezTo>
                    <a:pt x="750914" y="871547"/>
                    <a:pt x="820199" y="964457"/>
                    <a:pt x="892925" y="1061966"/>
                  </a:cubicBezTo>
                  <a:cubicBezTo>
                    <a:pt x="922415" y="1103299"/>
                    <a:pt x="954592" y="1142646"/>
                    <a:pt x="989245" y="1179753"/>
                  </a:cubicBezTo>
                  <a:cubicBezTo>
                    <a:pt x="1040059" y="1232027"/>
                    <a:pt x="1194589" y="1391127"/>
                    <a:pt x="1306300" y="1351164"/>
                  </a:cubicBezTo>
                  <a:cubicBezTo>
                    <a:pt x="1348976" y="1335897"/>
                    <a:pt x="1369249" y="1293414"/>
                    <a:pt x="1390712" y="1248441"/>
                  </a:cubicBezTo>
                  <a:cubicBezTo>
                    <a:pt x="1405480" y="1217482"/>
                    <a:pt x="1420762" y="1185468"/>
                    <a:pt x="1444323" y="1161400"/>
                  </a:cubicBezTo>
                  <a:cubicBezTo>
                    <a:pt x="1494591" y="1110072"/>
                    <a:pt x="1521473" y="1115163"/>
                    <a:pt x="1580382" y="1126382"/>
                  </a:cubicBezTo>
                  <a:lnTo>
                    <a:pt x="1591446" y="1128474"/>
                  </a:lnTo>
                  <a:cubicBezTo>
                    <a:pt x="1701464" y="1149041"/>
                    <a:pt x="1750749" y="1148762"/>
                    <a:pt x="1832847" y="1063513"/>
                  </a:cubicBezTo>
                  <a:cubicBezTo>
                    <a:pt x="1962886" y="928504"/>
                    <a:pt x="1898375" y="626292"/>
                    <a:pt x="1791426" y="488442"/>
                  </a:cubicBezTo>
                  <a:lnTo>
                    <a:pt x="1783496" y="478230"/>
                  </a:lnTo>
                  <a:lnTo>
                    <a:pt x="1791350" y="467957"/>
                  </a:lnTo>
                  <a:cubicBezTo>
                    <a:pt x="1797183" y="460308"/>
                    <a:pt x="1795730" y="456526"/>
                    <a:pt x="1795020" y="454707"/>
                  </a:cubicBezTo>
                  <a:cubicBezTo>
                    <a:pt x="1788029" y="436583"/>
                    <a:pt x="1735621" y="408974"/>
                    <a:pt x="1609524" y="385856"/>
                  </a:cubicBezTo>
                  <a:cubicBezTo>
                    <a:pt x="1601425" y="384582"/>
                    <a:pt x="1593160" y="384836"/>
                    <a:pt x="1585154" y="386605"/>
                  </a:cubicBezTo>
                  <a:cubicBezTo>
                    <a:pt x="1571184" y="389528"/>
                    <a:pt x="1556738" y="389291"/>
                    <a:pt x="1542871" y="385911"/>
                  </a:cubicBezTo>
                  <a:cubicBezTo>
                    <a:pt x="1436743" y="359482"/>
                    <a:pt x="1344497" y="293351"/>
                    <a:pt x="1255288" y="229396"/>
                  </a:cubicBezTo>
                  <a:cubicBezTo>
                    <a:pt x="1171836" y="169560"/>
                    <a:pt x="1085533" y="107686"/>
                    <a:pt x="988240" y="78584"/>
                  </a:cubicBezTo>
                  <a:cubicBezTo>
                    <a:pt x="780953" y="16580"/>
                    <a:pt x="477858" y="8170"/>
                    <a:pt x="267992" y="129143"/>
                  </a:cubicBezTo>
                  <a:cubicBezTo>
                    <a:pt x="152786" y="192628"/>
                    <a:pt x="70224" y="302382"/>
                    <a:pt x="41142" y="430710"/>
                  </a:cubicBezTo>
                  <a:cubicBezTo>
                    <a:pt x="13124" y="547873"/>
                    <a:pt x="63371" y="697384"/>
                    <a:pt x="163328" y="794281"/>
                  </a:cubicBezTo>
                  <a:cubicBezTo>
                    <a:pt x="261275" y="889235"/>
                    <a:pt x="376328" y="915899"/>
                    <a:pt x="536482" y="880705"/>
                  </a:cubicBezTo>
                  <a:cubicBezTo>
                    <a:pt x="562250" y="874823"/>
                    <a:pt x="588579" y="871752"/>
                    <a:pt x="615008" y="8715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12" name="Google Shape;112;p5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13" name="Google Shape;113;p5"/>
          <p:cNvSpPr txBox="1">
            <a:spLocks noGrp="1"/>
          </p:cNvSpPr>
          <p:nvPr>
            <p:ph type="subTitle" idx="1"/>
          </p:nvPr>
        </p:nvSpPr>
        <p:spPr>
          <a:xfrm>
            <a:off x="6400929" y="3695449"/>
            <a:ext cx="4295200" cy="179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 sz="1867" b="0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14" name="Google Shape;114;p5"/>
          <p:cNvSpPr txBox="1">
            <a:spLocks noGrp="1"/>
          </p:cNvSpPr>
          <p:nvPr>
            <p:ph type="subTitle" idx="2"/>
          </p:nvPr>
        </p:nvSpPr>
        <p:spPr>
          <a:xfrm>
            <a:off x="1496275" y="3695449"/>
            <a:ext cx="4295200" cy="179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 sz="1867" b="0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 sz="3733"/>
            </a:lvl9pPr>
          </a:lstStyle>
          <a:p>
            <a:endParaRPr/>
          </a:p>
        </p:txBody>
      </p:sp>
      <p:sp>
        <p:nvSpPr>
          <p:cNvPr id="115" name="Google Shape;115;p5"/>
          <p:cNvSpPr txBox="1">
            <a:spLocks noGrp="1"/>
          </p:cNvSpPr>
          <p:nvPr>
            <p:ph type="subTitle" idx="3"/>
          </p:nvPr>
        </p:nvSpPr>
        <p:spPr>
          <a:xfrm>
            <a:off x="6400904" y="3107824"/>
            <a:ext cx="4295200" cy="59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116" name="Google Shape;116;p5"/>
          <p:cNvSpPr txBox="1">
            <a:spLocks noGrp="1"/>
          </p:cNvSpPr>
          <p:nvPr>
            <p:ph type="subTitle" idx="4"/>
          </p:nvPr>
        </p:nvSpPr>
        <p:spPr>
          <a:xfrm>
            <a:off x="1495871" y="3107824"/>
            <a:ext cx="4295200" cy="593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18" name="Google Shape;118;p6"/>
          <p:cNvGrpSpPr/>
          <p:nvPr/>
        </p:nvGrpSpPr>
        <p:grpSpPr>
          <a:xfrm>
            <a:off x="-1073848" y="-578380"/>
            <a:ext cx="14086152" cy="8152307"/>
            <a:chOff x="-805386" y="-433785"/>
            <a:chExt cx="10564614" cy="6114230"/>
          </a:xfrm>
        </p:grpSpPr>
        <p:sp>
          <p:nvSpPr>
            <p:cNvPr id="119" name="Google Shape;119;p6"/>
            <p:cNvSpPr/>
            <p:nvPr/>
          </p:nvSpPr>
          <p:spPr>
            <a:xfrm>
              <a:off x="7795495" y="4209879"/>
              <a:ext cx="1963732" cy="1470566"/>
            </a:xfrm>
            <a:custGeom>
              <a:avLst/>
              <a:gdLst/>
              <a:ahLst/>
              <a:cxnLst/>
              <a:rect l="l" t="t" r="r" b="b"/>
              <a:pathLst>
                <a:path w="1402666" h="1050404" extrusionOk="0">
                  <a:moveTo>
                    <a:pt x="1390590" y="220010"/>
                  </a:moveTo>
                  <a:cubicBezTo>
                    <a:pt x="1341656" y="104986"/>
                    <a:pt x="1138665" y="63231"/>
                    <a:pt x="1049244" y="106992"/>
                  </a:cubicBezTo>
                  <a:lnTo>
                    <a:pt x="948311" y="82163"/>
                  </a:lnTo>
                  <a:cubicBezTo>
                    <a:pt x="819042" y="57271"/>
                    <a:pt x="735331" y="-84425"/>
                    <a:pt x="612165" y="73745"/>
                  </a:cubicBezTo>
                  <a:cubicBezTo>
                    <a:pt x="501913" y="215331"/>
                    <a:pt x="563541" y="450502"/>
                    <a:pt x="340053" y="432787"/>
                  </a:cubicBezTo>
                  <a:cubicBezTo>
                    <a:pt x="231164" y="424156"/>
                    <a:pt x="76410" y="304605"/>
                    <a:pt x="14694" y="484224"/>
                  </a:cubicBezTo>
                  <a:cubicBezTo>
                    <a:pt x="-24343" y="597837"/>
                    <a:pt x="21045" y="763789"/>
                    <a:pt x="73456" y="860376"/>
                  </a:cubicBezTo>
                  <a:cubicBezTo>
                    <a:pt x="150548" y="1002447"/>
                    <a:pt x="297363" y="1060394"/>
                    <a:pt x="431515" y="1049011"/>
                  </a:cubicBezTo>
                  <a:cubicBezTo>
                    <a:pt x="474640" y="1045350"/>
                    <a:pt x="576457" y="1035521"/>
                    <a:pt x="590571" y="970081"/>
                  </a:cubicBezTo>
                  <a:cubicBezTo>
                    <a:pt x="702824" y="957413"/>
                    <a:pt x="824497" y="986922"/>
                    <a:pt x="923115" y="908208"/>
                  </a:cubicBezTo>
                  <a:cubicBezTo>
                    <a:pt x="995072" y="850773"/>
                    <a:pt x="1060157" y="789017"/>
                    <a:pt x="1135455" y="736605"/>
                  </a:cubicBezTo>
                  <a:cubicBezTo>
                    <a:pt x="1190061" y="698594"/>
                    <a:pt x="1227392" y="675059"/>
                    <a:pt x="1259846" y="615198"/>
                  </a:cubicBezTo>
                  <a:cubicBezTo>
                    <a:pt x="1311976" y="519049"/>
                    <a:pt x="1442813" y="342768"/>
                    <a:pt x="1390590" y="2200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120" name="Google Shape;120;p6"/>
            <p:cNvGrpSpPr/>
            <p:nvPr/>
          </p:nvGrpSpPr>
          <p:grpSpPr>
            <a:xfrm>
              <a:off x="8153906" y="-433785"/>
              <a:ext cx="1579710" cy="1529704"/>
              <a:chOff x="6273623" y="1651506"/>
              <a:chExt cx="1210413" cy="1172097"/>
            </a:xfrm>
          </p:grpSpPr>
          <p:sp>
            <p:nvSpPr>
              <p:cNvPr id="121" name="Google Shape;121;p6"/>
              <p:cNvSpPr/>
              <p:nvPr/>
            </p:nvSpPr>
            <p:spPr>
              <a:xfrm>
                <a:off x="6387545" y="1784866"/>
                <a:ext cx="608609" cy="416340"/>
              </a:xfrm>
              <a:custGeom>
                <a:avLst/>
                <a:gdLst/>
                <a:ahLst/>
                <a:cxnLst/>
                <a:rect l="l" t="t" r="r" b="b"/>
                <a:pathLst>
                  <a:path w="608609" h="416340" extrusionOk="0">
                    <a:moveTo>
                      <a:pt x="480399" y="192190"/>
                    </a:moveTo>
                    <a:cubicBezTo>
                      <a:pt x="419908" y="152370"/>
                      <a:pt x="359912" y="107730"/>
                      <a:pt x="295403" y="75050"/>
                    </a:cubicBezTo>
                    <a:cubicBezTo>
                      <a:pt x="259584" y="56905"/>
                      <a:pt x="224520" y="30849"/>
                      <a:pt x="185928" y="19712"/>
                    </a:cubicBezTo>
                    <a:cubicBezTo>
                      <a:pt x="158485" y="10582"/>
                      <a:pt x="130200" y="4216"/>
                      <a:pt x="101493" y="709"/>
                    </a:cubicBezTo>
                    <a:cubicBezTo>
                      <a:pt x="68291" y="-1842"/>
                      <a:pt x="15787" y="944"/>
                      <a:pt x="3557" y="35403"/>
                    </a:cubicBezTo>
                    <a:cubicBezTo>
                      <a:pt x="-5327" y="60436"/>
                      <a:pt x="4714" y="96324"/>
                      <a:pt x="9166" y="122979"/>
                    </a:cubicBezTo>
                    <a:cubicBezTo>
                      <a:pt x="10340" y="136233"/>
                      <a:pt x="14721" y="149003"/>
                      <a:pt x="21932" y="160184"/>
                    </a:cubicBezTo>
                    <a:cubicBezTo>
                      <a:pt x="39678" y="186911"/>
                      <a:pt x="59830" y="211959"/>
                      <a:pt x="82135" y="235015"/>
                    </a:cubicBezTo>
                    <a:cubicBezTo>
                      <a:pt x="89828" y="243385"/>
                      <a:pt x="98485" y="250814"/>
                      <a:pt x="107924" y="257147"/>
                    </a:cubicBezTo>
                    <a:cubicBezTo>
                      <a:pt x="124223" y="266092"/>
                      <a:pt x="141308" y="273522"/>
                      <a:pt x="158965" y="279343"/>
                    </a:cubicBezTo>
                    <a:cubicBezTo>
                      <a:pt x="174102" y="284611"/>
                      <a:pt x="188676" y="290825"/>
                      <a:pt x="203694" y="296523"/>
                    </a:cubicBezTo>
                    <a:cubicBezTo>
                      <a:pt x="239435" y="310084"/>
                      <a:pt x="275071" y="319612"/>
                      <a:pt x="311310" y="330662"/>
                    </a:cubicBezTo>
                    <a:cubicBezTo>
                      <a:pt x="358976" y="345198"/>
                      <a:pt x="404708" y="366334"/>
                      <a:pt x="452077" y="382022"/>
                    </a:cubicBezTo>
                    <a:cubicBezTo>
                      <a:pt x="482261" y="392020"/>
                      <a:pt x="511435" y="405067"/>
                      <a:pt x="541219" y="416341"/>
                    </a:cubicBezTo>
                    <a:lnTo>
                      <a:pt x="608614" y="276496"/>
                    </a:lnTo>
                    <a:cubicBezTo>
                      <a:pt x="565789" y="248528"/>
                      <a:pt x="523051" y="220426"/>
                      <a:pt x="480399" y="19219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2" name="Google Shape;122;p6"/>
              <p:cNvSpPr/>
              <p:nvPr/>
            </p:nvSpPr>
            <p:spPr>
              <a:xfrm>
                <a:off x="6273623" y="2098417"/>
                <a:ext cx="572310" cy="357053"/>
              </a:xfrm>
              <a:custGeom>
                <a:avLst/>
                <a:gdLst/>
                <a:ahLst/>
                <a:cxnLst/>
                <a:rect l="l" t="t" r="r" b="b"/>
                <a:pathLst>
                  <a:path w="572310" h="357053" extrusionOk="0">
                    <a:moveTo>
                      <a:pt x="425798" y="175079"/>
                    </a:moveTo>
                    <a:cubicBezTo>
                      <a:pt x="399094" y="158337"/>
                      <a:pt x="370940" y="144324"/>
                      <a:pt x="344734" y="126715"/>
                    </a:cubicBezTo>
                    <a:cubicBezTo>
                      <a:pt x="291392" y="91488"/>
                      <a:pt x="235814" y="59773"/>
                      <a:pt x="178352" y="31773"/>
                    </a:cubicBezTo>
                    <a:cubicBezTo>
                      <a:pt x="157363" y="23060"/>
                      <a:pt x="135615" y="16304"/>
                      <a:pt x="113385" y="11590"/>
                    </a:cubicBezTo>
                    <a:cubicBezTo>
                      <a:pt x="100076" y="6607"/>
                      <a:pt x="86302" y="2971"/>
                      <a:pt x="72269" y="736"/>
                    </a:cubicBezTo>
                    <a:cubicBezTo>
                      <a:pt x="43571" y="-1795"/>
                      <a:pt x="12578" y="981"/>
                      <a:pt x="2477" y="28772"/>
                    </a:cubicBezTo>
                    <a:cubicBezTo>
                      <a:pt x="-5264" y="50070"/>
                      <a:pt x="6609" y="79033"/>
                      <a:pt x="18268" y="98709"/>
                    </a:cubicBezTo>
                    <a:cubicBezTo>
                      <a:pt x="35944" y="127406"/>
                      <a:pt x="56942" y="153919"/>
                      <a:pt x="80826" y="177697"/>
                    </a:cubicBezTo>
                    <a:cubicBezTo>
                      <a:pt x="110239" y="207502"/>
                      <a:pt x="155501" y="232116"/>
                      <a:pt x="193697" y="248881"/>
                    </a:cubicBezTo>
                    <a:cubicBezTo>
                      <a:pt x="264629" y="280450"/>
                      <a:pt x="338406" y="305188"/>
                      <a:pt x="414027" y="322757"/>
                    </a:cubicBezTo>
                    <a:cubicBezTo>
                      <a:pt x="447241" y="330287"/>
                      <a:pt x="480779" y="341369"/>
                      <a:pt x="513676" y="351089"/>
                    </a:cubicBezTo>
                    <a:cubicBezTo>
                      <a:pt x="520190" y="353013"/>
                      <a:pt x="526414" y="355014"/>
                      <a:pt x="532601" y="357053"/>
                    </a:cubicBezTo>
                    <a:lnTo>
                      <a:pt x="572315" y="274647"/>
                    </a:lnTo>
                    <a:cubicBezTo>
                      <a:pt x="542730" y="253682"/>
                      <a:pt x="513133" y="232816"/>
                      <a:pt x="483037" y="212997"/>
                    </a:cubicBezTo>
                    <a:cubicBezTo>
                      <a:pt x="463957" y="200433"/>
                      <a:pt x="445150" y="187212"/>
                      <a:pt x="425798" y="17507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3" name="Google Shape;123;p6"/>
              <p:cNvSpPr/>
              <p:nvPr/>
            </p:nvSpPr>
            <p:spPr>
              <a:xfrm>
                <a:off x="6711488" y="2455470"/>
                <a:ext cx="409719" cy="368133"/>
              </a:xfrm>
              <a:custGeom>
                <a:avLst/>
                <a:gdLst/>
                <a:ahLst/>
                <a:cxnLst/>
                <a:rect l="l" t="t" r="r" b="b"/>
                <a:pathLst>
                  <a:path w="409719" h="368133" extrusionOk="0">
                    <a:moveTo>
                      <a:pt x="67405" y="258859"/>
                    </a:moveTo>
                    <a:cubicBezTo>
                      <a:pt x="97664" y="284421"/>
                      <a:pt x="129874" y="307579"/>
                      <a:pt x="163740" y="328120"/>
                    </a:cubicBezTo>
                    <a:cubicBezTo>
                      <a:pt x="194307" y="348174"/>
                      <a:pt x="223086" y="365401"/>
                      <a:pt x="259128" y="367602"/>
                    </a:cubicBezTo>
                    <a:cubicBezTo>
                      <a:pt x="300952" y="370158"/>
                      <a:pt x="350576" y="364419"/>
                      <a:pt x="372350" y="329963"/>
                    </a:cubicBezTo>
                    <a:cubicBezTo>
                      <a:pt x="391024" y="300415"/>
                      <a:pt x="417900" y="260817"/>
                      <a:pt x="407344" y="222614"/>
                    </a:cubicBezTo>
                    <a:cubicBezTo>
                      <a:pt x="403209" y="210389"/>
                      <a:pt x="396440" y="199222"/>
                      <a:pt x="387515" y="189903"/>
                    </a:cubicBezTo>
                    <a:cubicBezTo>
                      <a:pt x="373343" y="170696"/>
                      <a:pt x="356243" y="153836"/>
                      <a:pt x="336840" y="139940"/>
                    </a:cubicBezTo>
                    <a:cubicBezTo>
                      <a:pt x="310725" y="121340"/>
                      <a:pt x="286199" y="101447"/>
                      <a:pt x="258414" y="85143"/>
                    </a:cubicBezTo>
                    <a:cubicBezTo>
                      <a:pt x="227137" y="66789"/>
                      <a:pt x="194910" y="50399"/>
                      <a:pt x="163998" y="31346"/>
                    </a:cubicBezTo>
                    <a:cubicBezTo>
                      <a:pt x="142258" y="18142"/>
                      <a:pt x="119002" y="7617"/>
                      <a:pt x="94736" y="0"/>
                    </a:cubicBezTo>
                    <a:lnTo>
                      <a:pt x="5" y="196562"/>
                    </a:lnTo>
                    <a:cubicBezTo>
                      <a:pt x="22565" y="217150"/>
                      <a:pt x="44675" y="238265"/>
                      <a:pt x="67405" y="25885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4" name="Google Shape;124;p6"/>
              <p:cNvSpPr/>
              <p:nvPr/>
            </p:nvSpPr>
            <p:spPr>
              <a:xfrm>
                <a:off x="6381962" y="2447554"/>
                <a:ext cx="329526" cy="292546"/>
              </a:xfrm>
              <a:custGeom>
                <a:avLst/>
                <a:gdLst/>
                <a:ahLst/>
                <a:cxnLst/>
                <a:rect l="l" t="t" r="r" b="b"/>
                <a:pathLst>
                  <a:path w="329526" h="292546" extrusionOk="0">
                    <a:moveTo>
                      <a:pt x="108585" y="40492"/>
                    </a:moveTo>
                    <a:cubicBezTo>
                      <a:pt x="90590" y="29713"/>
                      <a:pt x="71185" y="20036"/>
                      <a:pt x="52516" y="10716"/>
                    </a:cubicBezTo>
                    <a:cubicBezTo>
                      <a:pt x="39193" y="4066"/>
                      <a:pt x="27733" y="-2518"/>
                      <a:pt x="13515" y="963"/>
                    </a:cubicBezTo>
                    <a:cubicBezTo>
                      <a:pt x="-7245" y="6045"/>
                      <a:pt x="702" y="27195"/>
                      <a:pt x="6160" y="43801"/>
                    </a:cubicBezTo>
                    <a:cubicBezTo>
                      <a:pt x="14383" y="66978"/>
                      <a:pt x="25147" y="89172"/>
                      <a:pt x="38253" y="109979"/>
                    </a:cubicBezTo>
                    <a:cubicBezTo>
                      <a:pt x="52833" y="133835"/>
                      <a:pt x="63956" y="158977"/>
                      <a:pt x="88300" y="175693"/>
                    </a:cubicBezTo>
                    <a:cubicBezTo>
                      <a:pt x="105613" y="187582"/>
                      <a:pt x="123507" y="198768"/>
                      <a:pt x="141055" y="210313"/>
                    </a:cubicBezTo>
                    <a:cubicBezTo>
                      <a:pt x="152353" y="217746"/>
                      <a:pt x="163464" y="226715"/>
                      <a:pt x="175310" y="233102"/>
                    </a:cubicBezTo>
                    <a:cubicBezTo>
                      <a:pt x="183056" y="237280"/>
                      <a:pt x="191022" y="239243"/>
                      <a:pt x="198691" y="243622"/>
                    </a:cubicBezTo>
                    <a:cubicBezTo>
                      <a:pt x="227782" y="260227"/>
                      <a:pt x="259151" y="273466"/>
                      <a:pt x="287088" y="292547"/>
                    </a:cubicBezTo>
                    <a:lnTo>
                      <a:pt x="329531" y="204479"/>
                    </a:lnTo>
                    <a:cubicBezTo>
                      <a:pt x="302564" y="179240"/>
                      <a:pt x="273961" y="155809"/>
                      <a:pt x="243910" y="134339"/>
                    </a:cubicBezTo>
                    <a:cubicBezTo>
                      <a:pt x="198868" y="102977"/>
                      <a:pt x="155846" y="68802"/>
                      <a:pt x="108585" y="4049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5" name="Google Shape;125;p6"/>
              <p:cNvSpPr/>
              <p:nvPr/>
            </p:nvSpPr>
            <p:spPr>
              <a:xfrm>
                <a:off x="6651890" y="1651506"/>
                <a:ext cx="447863" cy="273263"/>
              </a:xfrm>
              <a:custGeom>
                <a:avLst/>
                <a:gdLst/>
                <a:ahLst/>
                <a:cxnLst/>
                <a:rect l="l" t="t" r="r" b="b"/>
                <a:pathLst>
                  <a:path w="447863" h="273263" extrusionOk="0">
                    <a:moveTo>
                      <a:pt x="435612" y="182642"/>
                    </a:moveTo>
                    <a:cubicBezTo>
                      <a:pt x="427988" y="175557"/>
                      <a:pt x="418831" y="171418"/>
                      <a:pt x="411318" y="163525"/>
                    </a:cubicBezTo>
                    <a:cubicBezTo>
                      <a:pt x="403123" y="154919"/>
                      <a:pt x="394766" y="146455"/>
                      <a:pt x="386549" y="137866"/>
                    </a:cubicBezTo>
                    <a:cubicBezTo>
                      <a:pt x="361545" y="113074"/>
                      <a:pt x="333744" y="91274"/>
                      <a:pt x="303706" y="72907"/>
                    </a:cubicBezTo>
                    <a:cubicBezTo>
                      <a:pt x="289401" y="62194"/>
                      <a:pt x="274498" y="52303"/>
                      <a:pt x="259070" y="43283"/>
                    </a:cubicBezTo>
                    <a:cubicBezTo>
                      <a:pt x="249691" y="38588"/>
                      <a:pt x="241539" y="36051"/>
                      <a:pt x="232375" y="30465"/>
                    </a:cubicBezTo>
                    <a:cubicBezTo>
                      <a:pt x="222889" y="26080"/>
                      <a:pt x="213035" y="22543"/>
                      <a:pt x="202927" y="19892"/>
                    </a:cubicBezTo>
                    <a:cubicBezTo>
                      <a:pt x="184724" y="11873"/>
                      <a:pt x="165261" y="7096"/>
                      <a:pt x="145415" y="5778"/>
                    </a:cubicBezTo>
                    <a:cubicBezTo>
                      <a:pt x="136104" y="6048"/>
                      <a:pt x="126785" y="5751"/>
                      <a:pt x="117510" y="4891"/>
                    </a:cubicBezTo>
                    <a:cubicBezTo>
                      <a:pt x="105401" y="1602"/>
                      <a:pt x="92906" y="-43"/>
                      <a:pt x="80359" y="1"/>
                    </a:cubicBezTo>
                    <a:cubicBezTo>
                      <a:pt x="45840" y="2603"/>
                      <a:pt x="25992" y="19077"/>
                      <a:pt x="8432" y="45111"/>
                    </a:cubicBezTo>
                    <a:cubicBezTo>
                      <a:pt x="-209" y="57921"/>
                      <a:pt x="-5838" y="75130"/>
                      <a:pt x="10191" y="88700"/>
                    </a:cubicBezTo>
                    <a:cubicBezTo>
                      <a:pt x="32044" y="105092"/>
                      <a:pt x="56144" y="118249"/>
                      <a:pt x="81748" y="127764"/>
                    </a:cubicBezTo>
                    <a:cubicBezTo>
                      <a:pt x="102298" y="136376"/>
                      <a:pt x="122721" y="141857"/>
                      <a:pt x="143372" y="149278"/>
                    </a:cubicBezTo>
                    <a:cubicBezTo>
                      <a:pt x="155004" y="153459"/>
                      <a:pt x="166872" y="156114"/>
                      <a:pt x="178460" y="160465"/>
                    </a:cubicBezTo>
                    <a:cubicBezTo>
                      <a:pt x="188627" y="164853"/>
                      <a:pt x="198408" y="170089"/>
                      <a:pt x="207699" y="176117"/>
                    </a:cubicBezTo>
                    <a:cubicBezTo>
                      <a:pt x="228978" y="187569"/>
                      <a:pt x="251162" y="197253"/>
                      <a:pt x="274028" y="205070"/>
                    </a:cubicBezTo>
                    <a:cubicBezTo>
                      <a:pt x="303156" y="217350"/>
                      <a:pt x="331449" y="231525"/>
                      <a:pt x="358725" y="247506"/>
                    </a:cubicBezTo>
                    <a:cubicBezTo>
                      <a:pt x="375703" y="256420"/>
                      <a:pt x="392867" y="264914"/>
                      <a:pt x="410097" y="273263"/>
                    </a:cubicBezTo>
                    <a:lnTo>
                      <a:pt x="447868" y="194891"/>
                    </a:lnTo>
                    <a:cubicBezTo>
                      <a:pt x="443582" y="191015"/>
                      <a:pt x="440365" y="187057"/>
                      <a:pt x="435612" y="18264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6" name="Google Shape;126;p6"/>
              <p:cNvSpPr/>
              <p:nvPr/>
            </p:nvSpPr>
            <p:spPr>
              <a:xfrm>
                <a:off x="7099753" y="1759023"/>
                <a:ext cx="256859" cy="248347"/>
              </a:xfrm>
              <a:custGeom>
                <a:avLst/>
                <a:gdLst/>
                <a:ahLst/>
                <a:cxnLst/>
                <a:rect l="l" t="t" r="r" b="b"/>
                <a:pathLst>
                  <a:path w="256859" h="248347" extrusionOk="0">
                    <a:moveTo>
                      <a:pt x="30179" y="111307"/>
                    </a:moveTo>
                    <a:cubicBezTo>
                      <a:pt x="54914" y="137083"/>
                      <a:pt x="82586" y="159803"/>
                      <a:pt x="107123" y="185249"/>
                    </a:cubicBezTo>
                    <a:cubicBezTo>
                      <a:pt x="134110" y="213235"/>
                      <a:pt x="175207" y="240713"/>
                      <a:pt x="213797" y="247566"/>
                    </a:cubicBezTo>
                    <a:cubicBezTo>
                      <a:pt x="255677" y="255004"/>
                      <a:pt x="260273" y="207614"/>
                      <a:pt x="255203" y="178252"/>
                    </a:cubicBezTo>
                    <a:cubicBezTo>
                      <a:pt x="254406" y="169206"/>
                      <a:pt x="251007" y="160585"/>
                      <a:pt x="245418" y="153431"/>
                    </a:cubicBezTo>
                    <a:cubicBezTo>
                      <a:pt x="240910" y="147491"/>
                      <a:pt x="235930" y="141925"/>
                      <a:pt x="230527" y="136787"/>
                    </a:cubicBezTo>
                    <a:cubicBezTo>
                      <a:pt x="217692" y="123995"/>
                      <a:pt x="202414" y="115110"/>
                      <a:pt x="189297" y="102550"/>
                    </a:cubicBezTo>
                    <a:cubicBezTo>
                      <a:pt x="178255" y="91977"/>
                      <a:pt x="163714" y="84717"/>
                      <a:pt x="151983" y="74641"/>
                    </a:cubicBezTo>
                    <a:cubicBezTo>
                      <a:pt x="140010" y="64766"/>
                      <a:pt x="127397" y="55695"/>
                      <a:pt x="114226" y="47487"/>
                    </a:cubicBezTo>
                    <a:cubicBezTo>
                      <a:pt x="90135" y="31742"/>
                      <a:pt x="66153" y="15825"/>
                      <a:pt x="42113" y="0"/>
                    </a:cubicBezTo>
                    <a:lnTo>
                      <a:pt x="5" y="87375"/>
                    </a:lnTo>
                    <a:cubicBezTo>
                      <a:pt x="1965" y="89174"/>
                      <a:pt x="4055" y="90827"/>
                      <a:pt x="6257" y="92319"/>
                    </a:cubicBezTo>
                    <a:cubicBezTo>
                      <a:pt x="14930" y="97713"/>
                      <a:pt x="22956" y="104084"/>
                      <a:pt x="30179" y="111307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7" name="Google Shape;127;p6"/>
              <p:cNvSpPr/>
              <p:nvPr/>
            </p:nvSpPr>
            <p:spPr>
              <a:xfrm>
                <a:off x="6845934" y="2201206"/>
                <a:ext cx="601812" cy="401738"/>
              </a:xfrm>
              <a:custGeom>
                <a:avLst/>
                <a:gdLst/>
                <a:ahLst/>
                <a:cxnLst/>
                <a:rect l="l" t="t" r="r" b="b"/>
                <a:pathLst>
                  <a:path w="601812" h="401738" extrusionOk="0">
                    <a:moveTo>
                      <a:pt x="596228" y="350482"/>
                    </a:moveTo>
                    <a:cubicBezTo>
                      <a:pt x="602550" y="339045"/>
                      <a:pt x="603560" y="325414"/>
                      <a:pt x="598993" y="313169"/>
                    </a:cubicBezTo>
                    <a:cubicBezTo>
                      <a:pt x="595501" y="302179"/>
                      <a:pt x="591173" y="290556"/>
                      <a:pt x="586545" y="279886"/>
                    </a:cubicBezTo>
                    <a:cubicBezTo>
                      <a:pt x="569044" y="234139"/>
                      <a:pt x="534136" y="197195"/>
                      <a:pt x="489465" y="177144"/>
                    </a:cubicBezTo>
                    <a:cubicBezTo>
                      <a:pt x="462626" y="162397"/>
                      <a:pt x="435702" y="147626"/>
                      <a:pt x="408248" y="134155"/>
                    </a:cubicBezTo>
                    <a:cubicBezTo>
                      <a:pt x="346507" y="103400"/>
                      <a:pt x="282967" y="76403"/>
                      <a:pt x="217974" y="53311"/>
                    </a:cubicBezTo>
                    <a:cubicBezTo>
                      <a:pt x="176515" y="38811"/>
                      <a:pt x="136928" y="19473"/>
                      <a:pt x="95499" y="4781"/>
                    </a:cubicBezTo>
                    <a:cubicBezTo>
                      <a:pt x="91246" y="3273"/>
                      <a:pt x="87050" y="1598"/>
                      <a:pt x="82829" y="0"/>
                    </a:cubicBezTo>
                    <a:lnTo>
                      <a:pt x="5" y="171858"/>
                    </a:lnTo>
                    <a:cubicBezTo>
                      <a:pt x="58392" y="213237"/>
                      <a:pt x="116722" y="255049"/>
                      <a:pt x="178659" y="290275"/>
                    </a:cubicBezTo>
                    <a:cubicBezTo>
                      <a:pt x="209196" y="307642"/>
                      <a:pt x="241321" y="322077"/>
                      <a:pt x="272210" y="338774"/>
                    </a:cubicBezTo>
                    <a:cubicBezTo>
                      <a:pt x="291875" y="349735"/>
                      <a:pt x="312292" y="359286"/>
                      <a:pt x="333308" y="367355"/>
                    </a:cubicBezTo>
                    <a:cubicBezTo>
                      <a:pt x="369802" y="380079"/>
                      <a:pt x="407191" y="390076"/>
                      <a:pt x="445166" y="397261"/>
                    </a:cubicBezTo>
                    <a:cubicBezTo>
                      <a:pt x="463722" y="400705"/>
                      <a:pt x="482607" y="402052"/>
                      <a:pt x="501464" y="401276"/>
                    </a:cubicBezTo>
                    <a:cubicBezTo>
                      <a:pt x="518051" y="402530"/>
                      <a:pt x="534731" y="401233"/>
                      <a:pt x="550924" y="397430"/>
                    </a:cubicBezTo>
                    <a:cubicBezTo>
                      <a:pt x="572281" y="389342"/>
                      <a:pt x="588901" y="372120"/>
                      <a:pt x="596228" y="35048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28" name="Google Shape;128;p6"/>
              <p:cNvSpPr/>
              <p:nvPr/>
            </p:nvSpPr>
            <p:spPr>
              <a:xfrm>
                <a:off x="6996154" y="1924770"/>
                <a:ext cx="487882" cy="356654"/>
              </a:xfrm>
              <a:custGeom>
                <a:avLst/>
                <a:gdLst/>
                <a:ahLst/>
                <a:cxnLst/>
                <a:rect l="l" t="t" r="r" b="b"/>
                <a:pathLst>
                  <a:path w="487882" h="356654" extrusionOk="0">
                    <a:moveTo>
                      <a:pt x="66760" y="184869"/>
                    </a:moveTo>
                    <a:cubicBezTo>
                      <a:pt x="94480" y="204904"/>
                      <a:pt x="123982" y="222772"/>
                      <a:pt x="152468" y="241728"/>
                    </a:cubicBezTo>
                    <a:cubicBezTo>
                      <a:pt x="175072" y="256770"/>
                      <a:pt x="197592" y="267994"/>
                      <a:pt x="221210" y="281123"/>
                    </a:cubicBezTo>
                    <a:cubicBezTo>
                      <a:pt x="251734" y="300018"/>
                      <a:pt x="283548" y="316741"/>
                      <a:pt x="316417" y="331172"/>
                    </a:cubicBezTo>
                    <a:cubicBezTo>
                      <a:pt x="351755" y="344752"/>
                      <a:pt x="390611" y="360898"/>
                      <a:pt x="427183" y="355634"/>
                    </a:cubicBezTo>
                    <a:cubicBezTo>
                      <a:pt x="446674" y="352829"/>
                      <a:pt x="464438" y="348721"/>
                      <a:pt x="475959" y="333318"/>
                    </a:cubicBezTo>
                    <a:cubicBezTo>
                      <a:pt x="485688" y="320550"/>
                      <a:pt x="489722" y="304334"/>
                      <a:pt x="487110" y="288493"/>
                    </a:cubicBezTo>
                    <a:cubicBezTo>
                      <a:pt x="482381" y="269428"/>
                      <a:pt x="472568" y="252004"/>
                      <a:pt x="458718" y="238080"/>
                    </a:cubicBezTo>
                    <a:cubicBezTo>
                      <a:pt x="449620" y="226855"/>
                      <a:pt x="438840" y="217106"/>
                      <a:pt x="426761" y="209181"/>
                    </a:cubicBezTo>
                    <a:cubicBezTo>
                      <a:pt x="389957" y="185229"/>
                      <a:pt x="353399" y="160880"/>
                      <a:pt x="316719" y="136735"/>
                    </a:cubicBezTo>
                    <a:cubicBezTo>
                      <a:pt x="285545" y="116215"/>
                      <a:pt x="253678" y="98413"/>
                      <a:pt x="221627" y="79346"/>
                    </a:cubicBezTo>
                    <a:cubicBezTo>
                      <a:pt x="171275" y="49392"/>
                      <a:pt x="118243" y="25396"/>
                      <a:pt x="65833" y="0"/>
                    </a:cubicBezTo>
                    <a:lnTo>
                      <a:pt x="5" y="136592"/>
                    </a:lnTo>
                    <a:cubicBezTo>
                      <a:pt x="4858" y="139761"/>
                      <a:pt x="9678" y="142985"/>
                      <a:pt x="14536" y="146146"/>
                    </a:cubicBezTo>
                    <a:cubicBezTo>
                      <a:pt x="32937" y="158119"/>
                      <a:pt x="49020" y="172044"/>
                      <a:pt x="66760" y="18486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129" name="Google Shape;129;p6"/>
            <p:cNvGrpSpPr/>
            <p:nvPr/>
          </p:nvGrpSpPr>
          <p:grpSpPr>
            <a:xfrm>
              <a:off x="-805386" y="274048"/>
              <a:ext cx="1401328" cy="1383322"/>
              <a:chOff x="3921280" y="4065381"/>
              <a:chExt cx="1018333" cy="1005248"/>
            </a:xfrm>
          </p:grpSpPr>
          <p:sp>
            <p:nvSpPr>
              <p:cNvPr id="130" name="Google Shape;130;p6"/>
              <p:cNvSpPr/>
              <p:nvPr/>
            </p:nvSpPr>
            <p:spPr>
              <a:xfrm>
                <a:off x="3948097" y="4072964"/>
                <a:ext cx="580775" cy="369810"/>
              </a:xfrm>
              <a:custGeom>
                <a:avLst/>
                <a:gdLst/>
                <a:ahLst/>
                <a:cxnLst/>
                <a:rect l="l" t="t" r="r" b="b"/>
                <a:pathLst>
                  <a:path w="580775" h="369810" extrusionOk="0">
                    <a:moveTo>
                      <a:pt x="59305" y="363077"/>
                    </a:moveTo>
                    <a:cubicBezTo>
                      <a:pt x="76964" y="351506"/>
                      <a:pt x="99452" y="346681"/>
                      <a:pt x="117837" y="335464"/>
                    </a:cubicBezTo>
                    <a:cubicBezTo>
                      <a:pt x="140096" y="320738"/>
                      <a:pt x="161245" y="304398"/>
                      <a:pt x="181114" y="286575"/>
                    </a:cubicBezTo>
                    <a:cubicBezTo>
                      <a:pt x="199253" y="271463"/>
                      <a:pt x="216904" y="255922"/>
                      <a:pt x="235307" y="241136"/>
                    </a:cubicBezTo>
                    <a:cubicBezTo>
                      <a:pt x="256828" y="225855"/>
                      <a:pt x="280021" y="213079"/>
                      <a:pt x="304435" y="203055"/>
                    </a:cubicBezTo>
                    <a:cubicBezTo>
                      <a:pt x="355125" y="178315"/>
                      <a:pt x="405619" y="154111"/>
                      <a:pt x="456855" y="130612"/>
                    </a:cubicBezTo>
                    <a:cubicBezTo>
                      <a:pt x="494105" y="113527"/>
                      <a:pt x="535733" y="93900"/>
                      <a:pt x="567336" y="67241"/>
                    </a:cubicBezTo>
                    <a:cubicBezTo>
                      <a:pt x="607116" y="33683"/>
                      <a:pt x="549746" y="-23215"/>
                      <a:pt x="510236" y="10115"/>
                    </a:cubicBezTo>
                    <a:cubicBezTo>
                      <a:pt x="480083" y="35551"/>
                      <a:pt x="430245" y="55031"/>
                      <a:pt x="394425" y="70461"/>
                    </a:cubicBezTo>
                    <a:cubicBezTo>
                      <a:pt x="344791" y="91842"/>
                      <a:pt x="297461" y="117505"/>
                      <a:pt x="248645" y="140655"/>
                    </a:cubicBezTo>
                    <a:cubicBezTo>
                      <a:pt x="211166" y="159089"/>
                      <a:pt x="176556" y="182860"/>
                      <a:pt x="145894" y="211227"/>
                    </a:cubicBezTo>
                    <a:cubicBezTo>
                      <a:pt x="124484" y="231239"/>
                      <a:pt x="101469" y="249460"/>
                      <a:pt x="77081" y="265706"/>
                    </a:cubicBezTo>
                    <a:cubicBezTo>
                      <a:pt x="58426" y="277180"/>
                      <a:pt x="36683" y="281438"/>
                      <a:pt x="18548" y="293318"/>
                    </a:cubicBezTo>
                    <a:cubicBezTo>
                      <a:pt x="-24756" y="321690"/>
                      <a:pt x="15660" y="391672"/>
                      <a:pt x="59305" y="363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1" name="Google Shape;131;p6"/>
              <p:cNvSpPr/>
              <p:nvPr/>
            </p:nvSpPr>
            <p:spPr>
              <a:xfrm>
                <a:off x="4063101" y="4065381"/>
                <a:ext cx="235196" cy="168615"/>
              </a:xfrm>
              <a:custGeom>
                <a:avLst/>
                <a:gdLst/>
                <a:ahLst/>
                <a:cxnLst/>
                <a:rect l="l" t="t" r="r" b="b"/>
                <a:pathLst>
                  <a:path w="235196" h="168615" extrusionOk="0">
                    <a:moveTo>
                      <a:pt x="20471" y="163025"/>
                    </a:moveTo>
                    <a:cubicBezTo>
                      <a:pt x="41087" y="175380"/>
                      <a:pt x="62567" y="165795"/>
                      <a:pt x="75714" y="148534"/>
                    </a:cubicBezTo>
                    <a:cubicBezTo>
                      <a:pt x="90036" y="129729"/>
                      <a:pt x="122395" y="124670"/>
                      <a:pt x="142832" y="115139"/>
                    </a:cubicBezTo>
                    <a:cubicBezTo>
                      <a:pt x="163912" y="105311"/>
                      <a:pt x="184059" y="85160"/>
                      <a:pt x="206510" y="79364"/>
                    </a:cubicBezTo>
                    <a:cubicBezTo>
                      <a:pt x="256792" y="66381"/>
                      <a:pt x="235477" y="-11561"/>
                      <a:pt x="185043" y="1461"/>
                    </a:cubicBezTo>
                    <a:cubicBezTo>
                      <a:pt x="151681" y="10075"/>
                      <a:pt x="124698" y="35943"/>
                      <a:pt x="92837" y="48798"/>
                    </a:cubicBezTo>
                    <a:cubicBezTo>
                      <a:pt x="56941" y="63281"/>
                      <a:pt x="29840" y="76440"/>
                      <a:pt x="5986" y="107758"/>
                    </a:cubicBezTo>
                    <a:cubicBezTo>
                      <a:pt x="-7331" y="125243"/>
                      <a:pt x="3391" y="152789"/>
                      <a:pt x="20471" y="16302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2" name="Google Shape;132;p6"/>
              <p:cNvSpPr/>
              <p:nvPr/>
            </p:nvSpPr>
            <p:spPr>
              <a:xfrm>
                <a:off x="3921280" y="4122942"/>
                <a:ext cx="783131" cy="485318"/>
              </a:xfrm>
              <a:custGeom>
                <a:avLst/>
                <a:gdLst/>
                <a:ahLst/>
                <a:cxnLst/>
                <a:rect l="l" t="t" r="r" b="b"/>
                <a:pathLst>
                  <a:path w="783131" h="485318" extrusionOk="0">
                    <a:moveTo>
                      <a:pt x="50170" y="483865"/>
                    </a:moveTo>
                    <a:cubicBezTo>
                      <a:pt x="76416" y="477109"/>
                      <a:pt x="102695" y="459032"/>
                      <a:pt x="126937" y="447005"/>
                    </a:cubicBezTo>
                    <a:cubicBezTo>
                      <a:pt x="162196" y="429514"/>
                      <a:pt x="196935" y="411201"/>
                      <a:pt x="231163" y="391766"/>
                    </a:cubicBezTo>
                    <a:cubicBezTo>
                      <a:pt x="268127" y="370777"/>
                      <a:pt x="301754" y="345136"/>
                      <a:pt x="338205" y="323583"/>
                    </a:cubicBezTo>
                    <a:cubicBezTo>
                      <a:pt x="370773" y="304325"/>
                      <a:pt x="407274" y="293069"/>
                      <a:pt x="440624" y="275253"/>
                    </a:cubicBezTo>
                    <a:cubicBezTo>
                      <a:pt x="551914" y="215802"/>
                      <a:pt x="658124" y="143481"/>
                      <a:pt x="764295" y="76219"/>
                    </a:cubicBezTo>
                    <a:cubicBezTo>
                      <a:pt x="808084" y="48479"/>
                      <a:pt x="767616" y="-21463"/>
                      <a:pt x="723538" y="6462"/>
                    </a:cubicBezTo>
                    <a:cubicBezTo>
                      <a:pt x="621378" y="71181"/>
                      <a:pt x="519019" y="138040"/>
                      <a:pt x="413434" y="197910"/>
                    </a:cubicBezTo>
                    <a:cubicBezTo>
                      <a:pt x="380399" y="216642"/>
                      <a:pt x="344586" y="228436"/>
                      <a:pt x="311154" y="246115"/>
                    </a:cubicBezTo>
                    <a:cubicBezTo>
                      <a:pt x="278526" y="263368"/>
                      <a:pt x="249717" y="287288"/>
                      <a:pt x="217991" y="306182"/>
                    </a:cubicBezTo>
                    <a:cubicBezTo>
                      <a:pt x="184857" y="325915"/>
                      <a:pt x="150899" y="344366"/>
                      <a:pt x="116581" y="361945"/>
                    </a:cubicBezTo>
                    <a:cubicBezTo>
                      <a:pt x="90004" y="375558"/>
                      <a:pt x="57692" y="398501"/>
                      <a:pt x="28702" y="405963"/>
                    </a:cubicBezTo>
                    <a:cubicBezTo>
                      <a:pt x="-21590" y="418909"/>
                      <a:pt x="-272" y="496850"/>
                      <a:pt x="50170" y="483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3" name="Google Shape;133;p6"/>
              <p:cNvSpPr/>
              <p:nvPr/>
            </p:nvSpPr>
            <p:spPr>
              <a:xfrm>
                <a:off x="3947907" y="4214911"/>
                <a:ext cx="888984" cy="554549"/>
              </a:xfrm>
              <a:custGeom>
                <a:avLst/>
                <a:gdLst/>
                <a:ahLst/>
                <a:cxnLst/>
                <a:rect l="l" t="t" r="r" b="b"/>
                <a:pathLst>
                  <a:path w="888984" h="554549" extrusionOk="0">
                    <a:moveTo>
                      <a:pt x="258167" y="465864"/>
                    </a:moveTo>
                    <a:cubicBezTo>
                      <a:pt x="331705" y="420676"/>
                      <a:pt x="397088" y="368547"/>
                      <a:pt x="475042" y="329870"/>
                    </a:cubicBezTo>
                    <a:cubicBezTo>
                      <a:pt x="544952" y="295185"/>
                      <a:pt x="619993" y="256594"/>
                      <a:pt x="681758" y="208619"/>
                    </a:cubicBezTo>
                    <a:cubicBezTo>
                      <a:pt x="712132" y="182712"/>
                      <a:pt x="744256" y="158933"/>
                      <a:pt x="777902" y="137451"/>
                    </a:cubicBezTo>
                    <a:cubicBezTo>
                      <a:pt x="810589" y="119674"/>
                      <a:pt x="842067" y="99758"/>
                      <a:pt x="872132" y="77832"/>
                    </a:cubicBezTo>
                    <a:cubicBezTo>
                      <a:pt x="912674" y="46501"/>
                      <a:pt x="872510" y="-23715"/>
                      <a:pt x="831375" y="8075"/>
                    </a:cubicBezTo>
                    <a:cubicBezTo>
                      <a:pt x="775479" y="51272"/>
                      <a:pt x="711439" y="80288"/>
                      <a:pt x="656921" y="125764"/>
                    </a:cubicBezTo>
                    <a:cubicBezTo>
                      <a:pt x="595738" y="176797"/>
                      <a:pt x="520026" y="216606"/>
                      <a:pt x="449213" y="252625"/>
                    </a:cubicBezTo>
                    <a:cubicBezTo>
                      <a:pt x="375376" y="291481"/>
                      <a:pt x="304242" y="335273"/>
                      <a:pt x="236293" y="383703"/>
                    </a:cubicBezTo>
                    <a:cubicBezTo>
                      <a:pt x="201607" y="406384"/>
                      <a:pt x="164028" y="424290"/>
                      <a:pt x="124566" y="436939"/>
                    </a:cubicBezTo>
                    <a:cubicBezTo>
                      <a:pt x="92538" y="448210"/>
                      <a:pt x="60701" y="465426"/>
                      <a:pt x="28384" y="474838"/>
                    </a:cubicBezTo>
                    <a:cubicBezTo>
                      <a:pt x="-21413" y="489341"/>
                      <a:pt x="-227" y="567326"/>
                      <a:pt x="49850" y="552740"/>
                    </a:cubicBezTo>
                    <a:cubicBezTo>
                      <a:pt x="82542" y="543219"/>
                      <a:pt x="113691" y="526182"/>
                      <a:pt x="146032" y="514840"/>
                    </a:cubicBezTo>
                    <a:cubicBezTo>
                      <a:pt x="185046" y="502553"/>
                      <a:pt x="222637" y="486134"/>
                      <a:pt x="258167" y="465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4" name="Google Shape;134;p6"/>
              <p:cNvSpPr/>
              <p:nvPr/>
            </p:nvSpPr>
            <p:spPr>
              <a:xfrm>
                <a:off x="4036751" y="4382052"/>
                <a:ext cx="865539" cy="567450"/>
              </a:xfrm>
              <a:custGeom>
                <a:avLst/>
                <a:gdLst/>
                <a:ahLst/>
                <a:cxnLst/>
                <a:rect l="l" t="t" r="r" b="b"/>
                <a:pathLst>
                  <a:path w="865539" h="567450" extrusionOk="0">
                    <a:moveTo>
                      <a:pt x="336526" y="375326"/>
                    </a:moveTo>
                    <a:cubicBezTo>
                      <a:pt x="366606" y="349102"/>
                      <a:pt x="399001" y="325662"/>
                      <a:pt x="433313" y="305292"/>
                    </a:cubicBezTo>
                    <a:cubicBezTo>
                      <a:pt x="503546" y="263874"/>
                      <a:pt x="575439" y="226412"/>
                      <a:pt x="646955" y="187353"/>
                    </a:cubicBezTo>
                    <a:cubicBezTo>
                      <a:pt x="684804" y="166681"/>
                      <a:pt x="722262" y="145299"/>
                      <a:pt x="760182" y="124756"/>
                    </a:cubicBezTo>
                    <a:cubicBezTo>
                      <a:pt x="791648" y="107711"/>
                      <a:pt x="826333" y="92499"/>
                      <a:pt x="852847" y="68144"/>
                    </a:cubicBezTo>
                    <a:cubicBezTo>
                      <a:pt x="891209" y="32904"/>
                      <a:pt x="833986" y="-24109"/>
                      <a:pt x="795746" y="11019"/>
                    </a:cubicBezTo>
                    <a:cubicBezTo>
                      <a:pt x="767749" y="36737"/>
                      <a:pt x="724114" y="52303"/>
                      <a:pt x="691050" y="70536"/>
                    </a:cubicBezTo>
                    <a:cubicBezTo>
                      <a:pt x="658008" y="88758"/>
                      <a:pt x="625196" y="107401"/>
                      <a:pt x="591990" y="125326"/>
                    </a:cubicBezTo>
                    <a:cubicBezTo>
                      <a:pt x="520568" y="163880"/>
                      <a:pt x="449291" y="201544"/>
                      <a:pt x="379571" y="243179"/>
                    </a:cubicBezTo>
                    <a:cubicBezTo>
                      <a:pt x="316838" y="280641"/>
                      <a:pt x="271136" y="332029"/>
                      <a:pt x="218059" y="380845"/>
                    </a:cubicBezTo>
                    <a:cubicBezTo>
                      <a:pt x="191158" y="404387"/>
                      <a:pt x="160954" y="423860"/>
                      <a:pt x="128411" y="438643"/>
                    </a:cubicBezTo>
                    <a:cubicBezTo>
                      <a:pt x="92489" y="456159"/>
                      <a:pt x="50058" y="466696"/>
                      <a:pt x="17589" y="490159"/>
                    </a:cubicBezTo>
                    <a:cubicBezTo>
                      <a:pt x="-24147" y="520323"/>
                      <a:pt x="16116" y="590438"/>
                      <a:pt x="58346" y="559918"/>
                    </a:cubicBezTo>
                    <a:cubicBezTo>
                      <a:pt x="90390" y="536760"/>
                      <a:pt x="133531" y="525778"/>
                      <a:pt x="169167" y="508400"/>
                    </a:cubicBezTo>
                    <a:cubicBezTo>
                      <a:pt x="203377" y="492244"/>
                      <a:pt x="235382" y="471780"/>
                      <a:pt x="264406" y="447507"/>
                    </a:cubicBezTo>
                    <a:cubicBezTo>
                      <a:pt x="290384" y="425302"/>
                      <a:pt x="310706" y="397627"/>
                      <a:pt x="336526" y="3753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5" name="Google Shape;135;p6"/>
              <p:cNvSpPr/>
              <p:nvPr/>
            </p:nvSpPr>
            <p:spPr>
              <a:xfrm>
                <a:off x="4482797" y="4854026"/>
                <a:ext cx="326877" cy="216603"/>
              </a:xfrm>
              <a:custGeom>
                <a:avLst/>
                <a:gdLst/>
                <a:ahLst/>
                <a:cxnLst/>
                <a:rect l="l" t="t" r="r" b="b"/>
                <a:pathLst>
                  <a:path w="326877" h="216603" extrusionOk="0">
                    <a:moveTo>
                      <a:pt x="256159" y="9881"/>
                    </a:moveTo>
                    <a:cubicBezTo>
                      <a:pt x="226451" y="34402"/>
                      <a:pt x="185089" y="47227"/>
                      <a:pt x="153099" y="68495"/>
                    </a:cubicBezTo>
                    <a:cubicBezTo>
                      <a:pt x="132396" y="82260"/>
                      <a:pt x="120933" y="99541"/>
                      <a:pt x="97506" y="110367"/>
                    </a:cubicBezTo>
                    <a:cubicBezTo>
                      <a:pt x="75159" y="120898"/>
                      <a:pt x="52072" y="129780"/>
                      <a:pt x="28430" y="136941"/>
                    </a:cubicBezTo>
                    <a:cubicBezTo>
                      <a:pt x="-21438" y="151239"/>
                      <a:pt x="-235" y="229216"/>
                      <a:pt x="49898" y="214843"/>
                    </a:cubicBezTo>
                    <a:cubicBezTo>
                      <a:pt x="75419" y="206845"/>
                      <a:pt x="100409" y="197237"/>
                      <a:pt x="124716" y="186078"/>
                    </a:cubicBezTo>
                    <a:cubicBezTo>
                      <a:pt x="154948" y="172989"/>
                      <a:pt x="169691" y="157320"/>
                      <a:pt x="194207" y="138197"/>
                    </a:cubicBezTo>
                    <a:cubicBezTo>
                      <a:pt x="230106" y="110195"/>
                      <a:pt x="277639" y="96408"/>
                      <a:pt x="313258" y="67007"/>
                    </a:cubicBezTo>
                    <a:cubicBezTo>
                      <a:pt x="353376" y="33894"/>
                      <a:pt x="295967" y="-22977"/>
                      <a:pt x="256159" y="9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36" name="Google Shape;136;p6"/>
              <p:cNvSpPr/>
              <p:nvPr/>
            </p:nvSpPr>
            <p:spPr>
              <a:xfrm>
                <a:off x="4207631" y="4583110"/>
                <a:ext cx="731982" cy="470540"/>
              </a:xfrm>
              <a:custGeom>
                <a:avLst/>
                <a:gdLst/>
                <a:ahLst/>
                <a:cxnLst/>
                <a:rect l="l" t="t" r="r" b="b"/>
                <a:pathLst>
                  <a:path w="731982" h="470540" extrusionOk="0">
                    <a:moveTo>
                      <a:pt x="662867" y="11748"/>
                    </a:moveTo>
                    <a:cubicBezTo>
                      <a:pt x="615615" y="58355"/>
                      <a:pt x="551642" y="78125"/>
                      <a:pt x="502036" y="120671"/>
                    </a:cubicBezTo>
                    <a:cubicBezTo>
                      <a:pt x="481878" y="140487"/>
                      <a:pt x="458307" y="156495"/>
                      <a:pt x="432457" y="167923"/>
                    </a:cubicBezTo>
                    <a:cubicBezTo>
                      <a:pt x="405625" y="179865"/>
                      <a:pt x="379703" y="193757"/>
                      <a:pt x="354900" y="209487"/>
                    </a:cubicBezTo>
                    <a:cubicBezTo>
                      <a:pt x="298547" y="242147"/>
                      <a:pt x="247639" y="282323"/>
                      <a:pt x="188042" y="309803"/>
                    </a:cubicBezTo>
                    <a:cubicBezTo>
                      <a:pt x="129125" y="336969"/>
                      <a:pt x="56509" y="351069"/>
                      <a:pt x="11004" y="400699"/>
                    </a:cubicBezTo>
                    <a:cubicBezTo>
                      <a:pt x="-24073" y="438956"/>
                      <a:pt x="32883" y="496238"/>
                      <a:pt x="68104" y="457824"/>
                    </a:cubicBezTo>
                    <a:cubicBezTo>
                      <a:pt x="112548" y="409352"/>
                      <a:pt x="194574" y="398489"/>
                      <a:pt x="251134" y="367559"/>
                    </a:cubicBezTo>
                    <a:cubicBezTo>
                      <a:pt x="308707" y="336076"/>
                      <a:pt x="362533" y="299227"/>
                      <a:pt x="419651" y="267391"/>
                    </a:cubicBezTo>
                    <a:cubicBezTo>
                      <a:pt x="443080" y="254333"/>
                      <a:pt x="465133" y="242926"/>
                      <a:pt x="489451" y="231323"/>
                    </a:cubicBezTo>
                    <a:cubicBezTo>
                      <a:pt x="519096" y="217177"/>
                      <a:pt x="537373" y="194224"/>
                      <a:pt x="562845" y="174956"/>
                    </a:cubicBezTo>
                    <a:cubicBezTo>
                      <a:pt x="589678" y="154660"/>
                      <a:pt x="623038" y="144338"/>
                      <a:pt x="649972" y="124590"/>
                    </a:cubicBezTo>
                    <a:cubicBezTo>
                      <a:pt x="674606" y="107717"/>
                      <a:pt x="697998" y="89097"/>
                      <a:pt x="719968" y="68874"/>
                    </a:cubicBezTo>
                    <a:cubicBezTo>
                      <a:pt x="757031" y="32315"/>
                      <a:pt x="699924" y="-24804"/>
                      <a:pt x="662867" y="117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137" name="Google Shape;137;p6"/>
          <p:cNvGrpSpPr/>
          <p:nvPr/>
        </p:nvGrpSpPr>
        <p:grpSpPr>
          <a:xfrm>
            <a:off x="-1073847" y="4543464"/>
            <a:ext cx="15809219" cy="4639667"/>
            <a:chOff x="-805385" y="3407598"/>
            <a:chExt cx="11856914" cy="3479750"/>
          </a:xfrm>
        </p:grpSpPr>
        <p:sp>
          <p:nvSpPr>
            <p:cNvPr id="138" name="Google Shape;138;p6"/>
            <p:cNvSpPr/>
            <p:nvPr/>
          </p:nvSpPr>
          <p:spPr>
            <a:xfrm rot="-10171546">
              <a:off x="-633356" y="4603393"/>
              <a:ext cx="2239624" cy="2097859"/>
            </a:xfrm>
            <a:custGeom>
              <a:avLst/>
              <a:gdLst/>
              <a:ahLst/>
              <a:cxnLst/>
              <a:rect l="l" t="t" r="r" b="b"/>
              <a:pathLst>
                <a:path w="1850676" h="1733531" extrusionOk="0">
                  <a:moveTo>
                    <a:pt x="1392436" y="1733532"/>
                  </a:moveTo>
                  <a:cubicBezTo>
                    <a:pt x="1356116" y="1733435"/>
                    <a:pt x="1320056" y="1727407"/>
                    <a:pt x="1285678" y="1715686"/>
                  </a:cubicBezTo>
                  <a:cubicBezTo>
                    <a:pt x="1236246" y="1699120"/>
                    <a:pt x="1202707" y="1667331"/>
                    <a:pt x="1170265" y="1636579"/>
                  </a:cubicBezTo>
                  <a:cubicBezTo>
                    <a:pt x="1134465" y="1602648"/>
                    <a:pt x="1100652" y="1570585"/>
                    <a:pt x="1046178" y="1557516"/>
                  </a:cubicBezTo>
                  <a:cubicBezTo>
                    <a:pt x="936663" y="1531212"/>
                    <a:pt x="787034" y="1537364"/>
                    <a:pt x="645934" y="1573962"/>
                  </a:cubicBezTo>
                  <a:cubicBezTo>
                    <a:pt x="619752" y="1580748"/>
                    <a:pt x="594312" y="1588649"/>
                    <a:pt x="569708" y="1596287"/>
                  </a:cubicBezTo>
                  <a:cubicBezTo>
                    <a:pt x="501149" y="1617576"/>
                    <a:pt x="436413" y="1637672"/>
                    <a:pt x="358035" y="1635267"/>
                  </a:cubicBezTo>
                  <a:cubicBezTo>
                    <a:pt x="254669" y="1632077"/>
                    <a:pt x="171648" y="1597009"/>
                    <a:pt x="111287" y="1531026"/>
                  </a:cubicBezTo>
                  <a:cubicBezTo>
                    <a:pt x="1920" y="1411486"/>
                    <a:pt x="-4410" y="1219941"/>
                    <a:pt x="1554" y="1116410"/>
                  </a:cubicBezTo>
                  <a:cubicBezTo>
                    <a:pt x="8107" y="1002705"/>
                    <a:pt x="65082" y="916910"/>
                    <a:pt x="120184" y="833934"/>
                  </a:cubicBezTo>
                  <a:cubicBezTo>
                    <a:pt x="156891" y="778660"/>
                    <a:pt x="194848" y="721507"/>
                    <a:pt x="216967" y="656868"/>
                  </a:cubicBezTo>
                  <a:cubicBezTo>
                    <a:pt x="240961" y="586755"/>
                    <a:pt x="215209" y="540235"/>
                    <a:pt x="182615" y="481334"/>
                  </a:cubicBezTo>
                  <a:cubicBezTo>
                    <a:pt x="172598" y="463226"/>
                    <a:pt x="162238" y="444518"/>
                    <a:pt x="152740" y="423951"/>
                  </a:cubicBezTo>
                  <a:cubicBezTo>
                    <a:pt x="135263" y="386107"/>
                    <a:pt x="109998" y="314530"/>
                    <a:pt x="137219" y="260338"/>
                  </a:cubicBezTo>
                  <a:cubicBezTo>
                    <a:pt x="151932" y="231046"/>
                    <a:pt x="179130" y="211474"/>
                    <a:pt x="218109" y="202115"/>
                  </a:cubicBezTo>
                  <a:cubicBezTo>
                    <a:pt x="233358" y="184870"/>
                    <a:pt x="291950" y="118603"/>
                    <a:pt x="292911" y="117516"/>
                  </a:cubicBezTo>
                  <a:cubicBezTo>
                    <a:pt x="386915" y="11220"/>
                    <a:pt x="545185" y="-46895"/>
                    <a:pt x="665864" y="47653"/>
                  </a:cubicBezTo>
                  <a:cubicBezTo>
                    <a:pt x="728262" y="96551"/>
                    <a:pt x="749163" y="170319"/>
                    <a:pt x="755706" y="223593"/>
                  </a:cubicBezTo>
                  <a:cubicBezTo>
                    <a:pt x="757972" y="242056"/>
                    <a:pt x="759469" y="260600"/>
                    <a:pt x="760911" y="278544"/>
                  </a:cubicBezTo>
                  <a:cubicBezTo>
                    <a:pt x="768322" y="370622"/>
                    <a:pt x="774723" y="450145"/>
                    <a:pt x="879443" y="483377"/>
                  </a:cubicBezTo>
                  <a:cubicBezTo>
                    <a:pt x="947576" y="504993"/>
                    <a:pt x="1018346" y="489694"/>
                    <a:pt x="1065714" y="473050"/>
                  </a:cubicBezTo>
                  <a:cubicBezTo>
                    <a:pt x="1076682" y="469192"/>
                    <a:pt x="1087522" y="464920"/>
                    <a:pt x="1098369" y="460647"/>
                  </a:cubicBezTo>
                  <a:cubicBezTo>
                    <a:pt x="1124661" y="449293"/>
                    <a:pt x="1152031" y="440620"/>
                    <a:pt x="1180062" y="434759"/>
                  </a:cubicBezTo>
                  <a:cubicBezTo>
                    <a:pt x="1214374" y="428050"/>
                    <a:pt x="1249918" y="436281"/>
                    <a:pt x="1277792" y="457391"/>
                  </a:cubicBezTo>
                  <a:cubicBezTo>
                    <a:pt x="1333641" y="498676"/>
                    <a:pt x="1362178" y="582722"/>
                    <a:pt x="1370256" y="647613"/>
                  </a:cubicBezTo>
                  <a:cubicBezTo>
                    <a:pt x="1376171" y="695128"/>
                    <a:pt x="1366482" y="741538"/>
                    <a:pt x="1357110" y="786420"/>
                  </a:cubicBezTo>
                  <a:cubicBezTo>
                    <a:pt x="1346280" y="838283"/>
                    <a:pt x="1336055" y="887262"/>
                    <a:pt x="1348721" y="936350"/>
                  </a:cubicBezTo>
                  <a:cubicBezTo>
                    <a:pt x="1354781" y="963365"/>
                    <a:pt x="1371188" y="986926"/>
                    <a:pt x="1394418" y="1001973"/>
                  </a:cubicBezTo>
                  <a:cubicBezTo>
                    <a:pt x="1424582" y="1019698"/>
                    <a:pt x="1464577" y="1012038"/>
                    <a:pt x="1506920" y="1003929"/>
                  </a:cubicBezTo>
                  <a:cubicBezTo>
                    <a:pt x="1559777" y="993810"/>
                    <a:pt x="1614425" y="983374"/>
                    <a:pt x="1655720" y="1022758"/>
                  </a:cubicBezTo>
                  <a:cubicBezTo>
                    <a:pt x="1673891" y="1040100"/>
                    <a:pt x="1678746" y="1063803"/>
                    <a:pt x="1683027" y="1084719"/>
                  </a:cubicBezTo>
                  <a:cubicBezTo>
                    <a:pt x="1684027" y="1089615"/>
                    <a:pt x="1685022" y="1094488"/>
                    <a:pt x="1686191" y="1099232"/>
                  </a:cubicBezTo>
                  <a:cubicBezTo>
                    <a:pt x="1695508" y="1137085"/>
                    <a:pt x="1722384" y="1162165"/>
                    <a:pt x="1750838" y="1188709"/>
                  </a:cubicBezTo>
                  <a:cubicBezTo>
                    <a:pt x="1769456" y="1205017"/>
                    <a:pt x="1786430" y="1223113"/>
                    <a:pt x="1801516" y="1242737"/>
                  </a:cubicBezTo>
                  <a:cubicBezTo>
                    <a:pt x="1812476" y="1257849"/>
                    <a:pt x="1821933" y="1273997"/>
                    <a:pt x="1829752" y="1290951"/>
                  </a:cubicBezTo>
                  <a:lnTo>
                    <a:pt x="1829752" y="1290951"/>
                  </a:lnTo>
                  <a:cubicBezTo>
                    <a:pt x="1913620" y="1473840"/>
                    <a:pt x="1725044" y="1592026"/>
                    <a:pt x="1623732" y="1655528"/>
                  </a:cubicBezTo>
                  <a:cubicBezTo>
                    <a:pt x="1562262" y="1694048"/>
                    <a:pt x="1484523" y="1733532"/>
                    <a:pt x="1392436" y="1733532"/>
                  </a:cubicBezTo>
                  <a:close/>
                  <a:moveTo>
                    <a:pt x="894484" y="1507881"/>
                  </a:moveTo>
                  <a:cubicBezTo>
                    <a:pt x="948137" y="1507342"/>
                    <a:pt x="1001671" y="1513041"/>
                    <a:pt x="1054010" y="1524863"/>
                  </a:cubicBezTo>
                  <a:cubicBezTo>
                    <a:pt x="1117211" y="1540042"/>
                    <a:pt x="1155918" y="1576727"/>
                    <a:pt x="1193345" y="1612210"/>
                  </a:cubicBezTo>
                  <a:cubicBezTo>
                    <a:pt x="1224509" y="1641748"/>
                    <a:pt x="1253941" y="1669647"/>
                    <a:pt x="1296340" y="1683864"/>
                  </a:cubicBezTo>
                  <a:cubicBezTo>
                    <a:pt x="1396340" y="1717359"/>
                    <a:pt x="1488930" y="1700409"/>
                    <a:pt x="1605916" y="1627072"/>
                  </a:cubicBezTo>
                  <a:cubicBezTo>
                    <a:pt x="1734088" y="1546741"/>
                    <a:pt x="1865301" y="1448980"/>
                    <a:pt x="1799256" y="1304950"/>
                  </a:cubicBezTo>
                  <a:lnTo>
                    <a:pt x="1799256" y="1304960"/>
                  </a:lnTo>
                  <a:cubicBezTo>
                    <a:pt x="1792352" y="1289997"/>
                    <a:pt x="1784004" y="1275745"/>
                    <a:pt x="1774328" y="1262407"/>
                  </a:cubicBezTo>
                  <a:cubicBezTo>
                    <a:pt x="1760504" y="1244557"/>
                    <a:pt x="1744972" y="1228098"/>
                    <a:pt x="1727954" y="1213264"/>
                  </a:cubicBezTo>
                  <a:cubicBezTo>
                    <a:pt x="1697157" y="1184523"/>
                    <a:pt x="1665311" y="1154821"/>
                    <a:pt x="1653607" y="1107253"/>
                  </a:cubicBezTo>
                  <a:cubicBezTo>
                    <a:pt x="1652334" y="1102084"/>
                    <a:pt x="1651247" y="1096783"/>
                    <a:pt x="1650155" y="1091461"/>
                  </a:cubicBezTo>
                  <a:cubicBezTo>
                    <a:pt x="1646539" y="1073813"/>
                    <a:pt x="1643126" y="1057137"/>
                    <a:pt x="1632557" y="1047050"/>
                  </a:cubicBezTo>
                  <a:cubicBezTo>
                    <a:pt x="1603749" y="1019577"/>
                    <a:pt x="1559771" y="1027992"/>
                    <a:pt x="1513228" y="1036909"/>
                  </a:cubicBezTo>
                  <a:cubicBezTo>
                    <a:pt x="1466646" y="1045826"/>
                    <a:pt x="1418487" y="1055060"/>
                    <a:pt x="1377422" y="1030910"/>
                  </a:cubicBezTo>
                  <a:cubicBezTo>
                    <a:pt x="1346504" y="1011344"/>
                    <a:pt x="1324525" y="980391"/>
                    <a:pt x="1316236" y="944743"/>
                  </a:cubicBezTo>
                  <a:cubicBezTo>
                    <a:pt x="1301605" y="888060"/>
                    <a:pt x="1313122" y="832907"/>
                    <a:pt x="1324264" y="779557"/>
                  </a:cubicBezTo>
                  <a:cubicBezTo>
                    <a:pt x="1333478" y="735419"/>
                    <a:pt x="1342184" y="693729"/>
                    <a:pt x="1336962" y="651766"/>
                  </a:cubicBezTo>
                  <a:cubicBezTo>
                    <a:pt x="1330070" y="596437"/>
                    <a:pt x="1305214" y="519396"/>
                    <a:pt x="1257851" y="484393"/>
                  </a:cubicBezTo>
                  <a:cubicBezTo>
                    <a:pt x="1237376" y="468739"/>
                    <a:pt x="1211140" y="462700"/>
                    <a:pt x="1185885" y="467827"/>
                  </a:cubicBezTo>
                  <a:cubicBezTo>
                    <a:pt x="1160066" y="473309"/>
                    <a:pt x="1134862" y="481371"/>
                    <a:pt x="1110652" y="491890"/>
                  </a:cubicBezTo>
                  <a:cubicBezTo>
                    <a:pt x="1099429" y="496316"/>
                    <a:pt x="1088195" y="500731"/>
                    <a:pt x="1076834" y="504719"/>
                  </a:cubicBezTo>
                  <a:cubicBezTo>
                    <a:pt x="1024633" y="523056"/>
                    <a:pt x="946254" y="539820"/>
                    <a:pt x="869296" y="515374"/>
                  </a:cubicBezTo>
                  <a:cubicBezTo>
                    <a:pt x="743085" y="475323"/>
                    <a:pt x="735143" y="376655"/>
                    <a:pt x="727464" y="281243"/>
                  </a:cubicBezTo>
                  <a:cubicBezTo>
                    <a:pt x="726050" y="263650"/>
                    <a:pt x="724581" y="245454"/>
                    <a:pt x="722401" y="227691"/>
                  </a:cubicBezTo>
                  <a:cubicBezTo>
                    <a:pt x="716628" y="180701"/>
                    <a:pt x="698539" y="115904"/>
                    <a:pt x="645175" y="74082"/>
                  </a:cubicBezTo>
                  <a:cubicBezTo>
                    <a:pt x="540822" y="-7663"/>
                    <a:pt x="401639" y="45227"/>
                    <a:pt x="318077" y="139721"/>
                  </a:cubicBezTo>
                  <a:lnTo>
                    <a:pt x="317362" y="139087"/>
                  </a:lnTo>
                  <a:cubicBezTo>
                    <a:pt x="309683" y="149218"/>
                    <a:pt x="290010" y="171461"/>
                    <a:pt x="239650" y="228417"/>
                  </a:cubicBezTo>
                  <a:lnTo>
                    <a:pt x="235969" y="232587"/>
                  </a:lnTo>
                  <a:lnTo>
                    <a:pt x="230528" y="233728"/>
                  </a:lnTo>
                  <a:cubicBezTo>
                    <a:pt x="199087" y="240324"/>
                    <a:pt x="177781" y="254349"/>
                    <a:pt x="167202" y="275408"/>
                  </a:cubicBezTo>
                  <a:cubicBezTo>
                    <a:pt x="146307" y="317021"/>
                    <a:pt x="168257" y="377519"/>
                    <a:pt x="183205" y="409876"/>
                  </a:cubicBezTo>
                  <a:cubicBezTo>
                    <a:pt x="192189" y="429327"/>
                    <a:pt x="202243" y="447501"/>
                    <a:pt x="211971" y="465073"/>
                  </a:cubicBezTo>
                  <a:cubicBezTo>
                    <a:pt x="245684" y="525996"/>
                    <a:pt x="277531" y="583531"/>
                    <a:pt x="248710" y="667753"/>
                  </a:cubicBezTo>
                  <a:cubicBezTo>
                    <a:pt x="225193" y="736479"/>
                    <a:pt x="186018" y="795468"/>
                    <a:pt x="148135" y="852511"/>
                  </a:cubicBezTo>
                  <a:cubicBezTo>
                    <a:pt x="93084" y="935410"/>
                    <a:pt x="41084" y="1013709"/>
                    <a:pt x="35055" y="1118333"/>
                  </a:cubicBezTo>
                  <a:cubicBezTo>
                    <a:pt x="29396" y="1216586"/>
                    <a:pt x="34989" y="1397914"/>
                    <a:pt x="136039" y="1508362"/>
                  </a:cubicBezTo>
                  <a:cubicBezTo>
                    <a:pt x="190059" y="1567406"/>
                    <a:pt x="265095" y="1598812"/>
                    <a:pt x="359071" y="1601719"/>
                  </a:cubicBezTo>
                  <a:cubicBezTo>
                    <a:pt x="431798" y="1603937"/>
                    <a:pt x="493967" y="1584650"/>
                    <a:pt x="559762" y="1564225"/>
                  </a:cubicBezTo>
                  <a:cubicBezTo>
                    <a:pt x="584737" y="1556477"/>
                    <a:pt x="610560" y="1548456"/>
                    <a:pt x="637513" y="1541462"/>
                  </a:cubicBezTo>
                  <a:cubicBezTo>
                    <a:pt x="721437" y="1519605"/>
                    <a:pt x="807763" y="1508324"/>
                    <a:pt x="894484" y="15078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Google Shape;139;p6"/>
            <p:cNvSpPr/>
            <p:nvPr/>
          </p:nvSpPr>
          <p:spPr>
            <a:xfrm>
              <a:off x="8705096" y="3407598"/>
              <a:ext cx="2346433" cy="1683429"/>
            </a:xfrm>
            <a:custGeom>
              <a:avLst/>
              <a:gdLst/>
              <a:ahLst/>
              <a:cxnLst/>
              <a:rect l="l" t="t" r="r" b="b"/>
              <a:pathLst>
                <a:path w="1939201" h="1391264" extrusionOk="0">
                  <a:moveTo>
                    <a:pt x="1267674" y="1391264"/>
                  </a:moveTo>
                  <a:cubicBezTo>
                    <a:pt x="1161742" y="1391274"/>
                    <a:pt x="1046799" y="1287114"/>
                    <a:pt x="965193" y="1203161"/>
                  </a:cubicBezTo>
                  <a:cubicBezTo>
                    <a:pt x="929503" y="1165024"/>
                    <a:pt x="896376" y="1124564"/>
                    <a:pt x="866032" y="1082047"/>
                  </a:cubicBezTo>
                  <a:cubicBezTo>
                    <a:pt x="780319" y="967117"/>
                    <a:pt x="712597" y="876356"/>
                    <a:pt x="543692" y="913489"/>
                  </a:cubicBezTo>
                  <a:cubicBezTo>
                    <a:pt x="371403" y="951404"/>
                    <a:pt x="246890" y="922045"/>
                    <a:pt x="139974" y="818388"/>
                  </a:cubicBezTo>
                  <a:cubicBezTo>
                    <a:pt x="31933" y="713650"/>
                    <a:pt x="-22125" y="551021"/>
                    <a:pt x="8504" y="422897"/>
                  </a:cubicBezTo>
                  <a:cubicBezTo>
                    <a:pt x="39606" y="285532"/>
                    <a:pt x="127951" y="168035"/>
                    <a:pt x="251249" y="100053"/>
                  </a:cubicBezTo>
                  <a:cubicBezTo>
                    <a:pt x="484707" y="-34531"/>
                    <a:pt x="799358" y="-12948"/>
                    <a:pt x="997853" y="46424"/>
                  </a:cubicBezTo>
                  <a:cubicBezTo>
                    <a:pt x="1100519" y="77131"/>
                    <a:pt x="1189137" y="140666"/>
                    <a:pt x="1274841" y="202108"/>
                  </a:cubicBezTo>
                  <a:cubicBezTo>
                    <a:pt x="1365470" y="267085"/>
                    <a:pt x="1451073" y="328457"/>
                    <a:pt x="1550977" y="353335"/>
                  </a:cubicBezTo>
                  <a:cubicBezTo>
                    <a:pt x="1560483" y="355578"/>
                    <a:pt x="1570377" y="355617"/>
                    <a:pt x="1579900" y="353449"/>
                  </a:cubicBezTo>
                  <a:cubicBezTo>
                    <a:pt x="1591653" y="351051"/>
                    <a:pt x="1603746" y="350842"/>
                    <a:pt x="1615574" y="352831"/>
                  </a:cubicBezTo>
                  <a:cubicBezTo>
                    <a:pt x="1805092" y="387583"/>
                    <a:pt x="1821071" y="429005"/>
                    <a:pt x="1826325" y="442616"/>
                  </a:cubicBezTo>
                  <a:cubicBezTo>
                    <a:pt x="1830697" y="453810"/>
                    <a:pt x="1830174" y="466325"/>
                    <a:pt x="1824884" y="477115"/>
                  </a:cubicBezTo>
                  <a:cubicBezTo>
                    <a:pt x="1933700" y="626500"/>
                    <a:pt x="2000856" y="937470"/>
                    <a:pt x="1857009" y="1086811"/>
                  </a:cubicBezTo>
                  <a:cubicBezTo>
                    <a:pt x="1764304" y="1183064"/>
                    <a:pt x="1703037" y="1183485"/>
                    <a:pt x="1585285" y="1161476"/>
                  </a:cubicBezTo>
                  <a:lnTo>
                    <a:pt x="1574111" y="1159361"/>
                  </a:lnTo>
                  <a:cubicBezTo>
                    <a:pt x="1517694" y="1148635"/>
                    <a:pt x="1505984" y="1146423"/>
                    <a:pt x="1468289" y="1184895"/>
                  </a:cubicBezTo>
                  <a:cubicBezTo>
                    <a:pt x="1448637" y="1204969"/>
                    <a:pt x="1435213" y="1233109"/>
                    <a:pt x="1420992" y="1262899"/>
                  </a:cubicBezTo>
                  <a:cubicBezTo>
                    <a:pt x="1397551" y="1312041"/>
                    <a:pt x="1373301" y="1362851"/>
                    <a:pt x="1317594" y="1382778"/>
                  </a:cubicBezTo>
                  <a:cubicBezTo>
                    <a:pt x="1301569" y="1388468"/>
                    <a:pt x="1284680" y="1391339"/>
                    <a:pt x="1267675" y="1391264"/>
                  </a:cubicBezTo>
                  <a:close/>
                  <a:moveTo>
                    <a:pt x="615008" y="871547"/>
                  </a:moveTo>
                  <a:cubicBezTo>
                    <a:pt x="750914" y="871547"/>
                    <a:pt x="820199" y="964457"/>
                    <a:pt x="892925" y="1061966"/>
                  </a:cubicBezTo>
                  <a:cubicBezTo>
                    <a:pt x="922415" y="1103299"/>
                    <a:pt x="954592" y="1142646"/>
                    <a:pt x="989245" y="1179753"/>
                  </a:cubicBezTo>
                  <a:cubicBezTo>
                    <a:pt x="1040059" y="1232027"/>
                    <a:pt x="1194589" y="1391127"/>
                    <a:pt x="1306300" y="1351164"/>
                  </a:cubicBezTo>
                  <a:cubicBezTo>
                    <a:pt x="1348976" y="1335897"/>
                    <a:pt x="1369249" y="1293414"/>
                    <a:pt x="1390712" y="1248441"/>
                  </a:cubicBezTo>
                  <a:cubicBezTo>
                    <a:pt x="1405480" y="1217482"/>
                    <a:pt x="1420762" y="1185468"/>
                    <a:pt x="1444323" y="1161400"/>
                  </a:cubicBezTo>
                  <a:cubicBezTo>
                    <a:pt x="1494591" y="1110072"/>
                    <a:pt x="1521473" y="1115163"/>
                    <a:pt x="1580382" y="1126382"/>
                  </a:cubicBezTo>
                  <a:lnTo>
                    <a:pt x="1591446" y="1128474"/>
                  </a:lnTo>
                  <a:cubicBezTo>
                    <a:pt x="1701464" y="1149041"/>
                    <a:pt x="1750749" y="1148762"/>
                    <a:pt x="1832847" y="1063513"/>
                  </a:cubicBezTo>
                  <a:cubicBezTo>
                    <a:pt x="1962886" y="928504"/>
                    <a:pt x="1898375" y="626292"/>
                    <a:pt x="1791426" y="488442"/>
                  </a:cubicBezTo>
                  <a:lnTo>
                    <a:pt x="1783496" y="478230"/>
                  </a:lnTo>
                  <a:lnTo>
                    <a:pt x="1791350" y="467957"/>
                  </a:lnTo>
                  <a:cubicBezTo>
                    <a:pt x="1797183" y="460308"/>
                    <a:pt x="1795730" y="456526"/>
                    <a:pt x="1795020" y="454707"/>
                  </a:cubicBezTo>
                  <a:cubicBezTo>
                    <a:pt x="1788029" y="436583"/>
                    <a:pt x="1735621" y="408974"/>
                    <a:pt x="1609524" y="385856"/>
                  </a:cubicBezTo>
                  <a:cubicBezTo>
                    <a:pt x="1601425" y="384582"/>
                    <a:pt x="1593160" y="384836"/>
                    <a:pt x="1585154" y="386605"/>
                  </a:cubicBezTo>
                  <a:cubicBezTo>
                    <a:pt x="1571184" y="389528"/>
                    <a:pt x="1556738" y="389291"/>
                    <a:pt x="1542871" y="385911"/>
                  </a:cubicBezTo>
                  <a:cubicBezTo>
                    <a:pt x="1436743" y="359482"/>
                    <a:pt x="1344497" y="293351"/>
                    <a:pt x="1255288" y="229396"/>
                  </a:cubicBezTo>
                  <a:cubicBezTo>
                    <a:pt x="1171836" y="169560"/>
                    <a:pt x="1085533" y="107686"/>
                    <a:pt x="988240" y="78584"/>
                  </a:cubicBezTo>
                  <a:cubicBezTo>
                    <a:pt x="780953" y="16580"/>
                    <a:pt x="477858" y="8170"/>
                    <a:pt x="267992" y="129143"/>
                  </a:cubicBezTo>
                  <a:cubicBezTo>
                    <a:pt x="152786" y="192628"/>
                    <a:pt x="70224" y="302382"/>
                    <a:pt x="41142" y="430710"/>
                  </a:cubicBezTo>
                  <a:cubicBezTo>
                    <a:pt x="13124" y="547873"/>
                    <a:pt x="63371" y="697384"/>
                    <a:pt x="163328" y="794281"/>
                  </a:cubicBezTo>
                  <a:cubicBezTo>
                    <a:pt x="261275" y="889235"/>
                    <a:pt x="376328" y="915899"/>
                    <a:pt x="536482" y="880705"/>
                  </a:cubicBezTo>
                  <a:cubicBezTo>
                    <a:pt x="562250" y="874823"/>
                    <a:pt x="588579" y="871752"/>
                    <a:pt x="615008" y="8715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0" name="Google Shape;140;p6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8415549"/>
      </p:ext>
    </p:extLst>
  </p:cSld>
  <p:clrMapOvr>
    <a:masterClrMapping/>
  </p:clrMapOvr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1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2" name="Google Shape;142;p7"/>
          <p:cNvGrpSpPr/>
          <p:nvPr/>
        </p:nvGrpSpPr>
        <p:grpSpPr>
          <a:xfrm>
            <a:off x="-418653" y="-1360083"/>
            <a:ext cx="13688281" cy="9230003"/>
            <a:chOff x="-313990" y="-1020062"/>
            <a:chExt cx="10266211" cy="6922502"/>
          </a:xfrm>
        </p:grpSpPr>
        <p:sp>
          <p:nvSpPr>
            <p:cNvPr id="143" name="Google Shape;143;p7"/>
            <p:cNvSpPr/>
            <p:nvPr/>
          </p:nvSpPr>
          <p:spPr>
            <a:xfrm rot="-4955155">
              <a:off x="6081222" y="-1285937"/>
              <a:ext cx="1339455" cy="2135581"/>
            </a:xfrm>
            <a:custGeom>
              <a:avLst/>
              <a:gdLst/>
              <a:ahLst/>
              <a:cxnLst/>
              <a:rect l="l" t="t" r="r" b="b"/>
              <a:pathLst>
                <a:path w="751489" h="1198148" extrusionOk="0">
                  <a:moveTo>
                    <a:pt x="402141" y="93"/>
                  </a:moveTo>
                  <a:cubicBezTo>
                    <a:pt x="300092" y="-4042"/>
                    <a:pt x="198166" y="131310"/>
                    <a:pt x="199148" y="212705"/>
                  </a:cubicBezTo>
                  <a:lnTo>
                    <a:pt x="145466" y="278583"/>
                  </a:lnTo>
                  <a:cubicBezTo>
                    <a:pt x="81810" y="365373"/>
                    <a:pt x="-52110" y="377588"/>
                    <a:pt x="21507" y="523992"/>
                  </a:cubicBezTo>
                  <a:cubicBezTo>
                    <a:pt x="87406" y="655045"/>
                    <a:pt x="282594" y="691885"/>
                    <a:pt x="191235" y="850801"/>
                  </a:cubicBezTo>
                  <a:cubicBezTo>
                    <a:pt x="146722" y="928231"/>
                    <a:pt x="4264" y="1000694"/>
                    <a:pt x="115239" y="1109208"/>
                  </a:cubicBezTo>
                  <a:cubicBezTo>
                    <a:pt x="185433" y="1177845"/>
                    <a:pt x="323836" y="1202440"/>
                    <a:pt x="413492" y="1197549"/>
                  </a:cubicBezTo>
                  <a:cubicBezTo>
                    <a:pt x="545371" y="1190353"/>
                    <a:pt x="639573" y="1102179"/>
                    <a:pt x="678160" y="999074"/>
                  </a:cubicBezTo>
                  <a:cubicBezTo>
                    <a:pt x="690563" y="965929"/>
                    <a:pt x="718971" y="887260"/>
                    <a:pt x="675608" y="853910"/>
                  </a:cubicBezTo>
                  <a:cubicBezTo>
                    <a:pt x="705576" y="766537"/>
                    <a:pt x="769977" y="686975"/>
                    <a:pt x="746416" y="586540"/>
                  </a:cubicBezTo>
                  <a:cubicBezTo>
                    <a:pt x="729223" y="513258"/>
                    <a:pt x="706434" y="443540"/>
                    <a:pt x="694118" y="369547"/>
                  </a:cubicBezTo>
                  <a:cubicBezTo>
                    <a:pt x="685187" y="315888"/>
                    <a:pt x="680889" y="280062"/>
                    <a:pt x="648068" y="235117"/>
                  </a:cubicBezTo>
                  <a:cubicBezTo>
                    <a:pt x="595351" y="162922"/>
                    <a:pt x="511052" y="4507"/>
                    <a:pt x="402141" y="9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4" name="Google Shape;144;p7"/>
            <p:cNvSpPr/>
            <p:nvPr/>
          </p:nvSpPr>
          <p:spPr>
            <a:xfrm rot="-675734">
              <a:off x="6208492" y="3703242"/>
              <a:ext cx="3596138" cy="1866002"/>
            </a:xfrm>
            <a:custGeom>
              <a:avLst/>
              <a:gdLst/>
              <a:ahLst/>
              <a:cxnLst/>
              <a:rect l="l" t="t" r="r" b="b"/>
              <a:pathLst>
                <a:path w="3053584" h="1584476" extrusionOk="0">
                  <a:moveTo>
                    <a:pt x="2848044" y="66280"/>
                  </a:moveTo>
                  <a:cubicBezTo>
                    <a:pt x="2692826" y="-76856"/>
                    <a:pt x="2447207" y="24797"/>
                    <a:pt x="2481707" y="247147"/>
                  </a:cubicBezTo>
                  <a:cubicBezTo>
                    <a:pt x="2505725" y="401946"/>
                    <a:pt x="2698833" y="410410"/>
                    <a:pt x="2579400" y="576854"/>
                  </a:cubicBezTo>
                  <a:cubicBezTo>
                    <a:pt x="2523412" y="654877"/>
                    <a:pt x="2439816" y="760822"/>
                    <a:pt x="2377989" y="832667"/>
                  </a:cubicBezTo>
                  <a:cubicBezTo>
                    <a:pt x="2304004" y="918638"/>
                    <a:pt x="2208521" y="909487"/>
                    <a:pt x="2083954" y="878331"/>
                  </a:cubicBezTo>
                  <a:cubicBezTo>
                    <a:pt x="1936665" y="841492"/>
                    <a:pt x="1900786" y="820910"/>
                    <a:pt x="1748339" y="865915"/>
                  </a:cubicBezTo>
                  <a:cubicBezTo>
                    <a:pt x="1657665" y="892683"/>
                    <a:pt x="1554316" y="888008"/>
                    <a:pt x="1554214" y="993871"/>
                  </a:cubicBezTo>
                  <a:cubicBezTo>
                    <a:pt x="1554165" y="1045921"/>
                    <a:pt x="1581172" y="1075784"/>
                    <a:pt x="1617667" y="1103806"/>
                  </a:cubicBezTo>
                  <a:cubicBezTo>
                    <a:pt x="1696111" y="1164036"/>
                    <a:pt x="1827672" y="1171659"/>
                    <a:pt x="1676726" y="1271187"/>
                  </a:cubicBezTo>
                  <a:cubicBezTo>
                    <a:pt x="1566337" y="1343973"/>
                    <a:pt x="1388995" y="1343296"/>
                    <a:pt x="1259590" y="1366332"/>
                  </a:cubicBezTo>
                  <a:cubicBezTo>
                    <a:pt x="1136302" y="1388280"/>
                    <a:pt x="1046133" y="1376633"/>
                    <a:pt x="958841" y="1269206"/>
                  </a:cubicBezTo>
                  <a:cubicBezTo>
                    <a:pt x="857855" y="1144925"/>
                    <a:pt x="916571" y="1114692"/>
                    <a:pt x="953939" y="1001887"/>
                  </a:cubicBezTo>
                  <a:cubicBezTo>
                    <a:pt x="1010762" y="830355"/>
                    <a:pt x="781410" y="781894"/>
                    <a:pt x="633792" y="785111"/>
                  </a:cubicBezTo>
                  <a:cubicBezTo>
                    <a:pt x="556385" y="786799"/>
                    <a:pt x="483753" y="803740"/>
                    <a:pt x="448449" y="877423"/>
                  </a:cubicBezTo>
                  <a:cubicBezTo>
                    <a:pt x="398608" y="981446"/>
                    <a:pt x="490589" y="1039611"/>
                    <a:pt x="492621" y="1128686"/>
                  </a:cubicBezTo>
                  <a:cubicBezTo>
                    <a:pt x="497375" y="1337041"/>
                    <a:pt x="194787" y="1364584"/>
                    <a:pt x="82691" y="1489039"/>
                  </a:cubicBezTo>
                  <a:cubicBezTo>
                    <a:pt x="54745" y="1520064"/>
                    <a:pt x="27411" y="1552187"/>
                    <a:pt x="5" y="1584476"/>
                  </a:cubicBezTo>
                  <a:lnTo>
                    <a:pt x="3053590" y="1584476"/>
                  </a:lnTo>
                  <a:lnTo>
                    <a:pt x="3053590" y="459040"/>
                  </a:lnTo>
                  <a:cubicBezTo>
                    <a:pt x="3003663" y="319003"/>
                    <a:pt x="2950589" y="160844"/>
                    <a:pt x="2848044" y="6628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5" name="Google Shape;145;p7"/>
            <p:cNvSpPr/>
            <p:nvPr/>
          </p:nvSpPr>
          <p:spPr>
            <a:xfrm rot="10800000" flipH="1">
              <a:off x="-313990" y="4604001"/>
              <a:ext cx="3230757" cy="1138290"/>
            </a:xfrm>
            <a:custGeom>
              <a:avLst/>
              <a:gdLst/>
              <a:ahLst/>
              <a:cxnLst/>
              <a:rect l="l" t="t" r="r" b="b"/>
              <a:pathLst>
                <a:path w="3230757" h="1138290" extrusionOk="0">
                  <a:moveTo>
                    <a:pt x="1065187" y="826826"/>
                  </a:moveTo>
                  <a:cubicBezTo>
                    <a:pt x="1375474" y="920936"/>
                    <a:pt x="1661584" y="990846"/>
                    <a:pt x="2008139" y="994880"/>
                  </a:cubicBezTo>
                  <a:cubicBezTo>
                    <a:pt x="2307681" y="998913"/>
                    <a:pt x="3324511" y="922280"/>
                    <a:pt x="3223768" y="559284"/>
                  </a:cubicBezTo>
                  <a:cubicBezTo>
                    <a:pt x="3164666" y="348208"/>
                    <a:pt x="2619312" y="353586"/>
                    <a:pt x="2521255" y="151921"/>
                  </a:cubicBezTo>
                  <a:cubicBezTo>
                    <a:pt x="2494391" y="95455"/>
                    <a:pt x="2503793" y="45711"/>
                    <a:pt x="2537374" y="0"/>
                  </a:cubicBezTo>
                  <a:lnTo>
                    <a:pt x="0" y="0"/>
                  </a:lnTo>
                  <a:lnTo>
                    <a:pt x="0" y="1105123"/>
                  </a:lnTo>
                  <a:cubicBezTo>
                    <a:pt x="436552" y="1187133"/>
                    <a:pt x="844896" y="1125289"/>
                    <a:pt x="1065187" y="8268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46" name="Google Shape;146;p7"/>
          <p:cNvGrpSpPr/>
          <p:nvPr/>
        </p:nvGrpSpPr>
        <p:grpSpPr>
          <a:xfrm>
            <a:off x="-881847" y="-1038636"/>
            <a:ext cx="15454432" cy="6905829"/>
            <a:chOff x="-661385" y="-778977"/>
            <a:chExt cx="11590824" cy="5179372"/>
          </a:xfrm>
        </p:grpSpPr>
        <p:sp>
          <p:nvSpPr>
            <p:cNvPr id="147" name="Google Shape;147;p7"/>
            <p:cNvSpPr/>
            <p:nvPr/>
          </p:nvSpPr>
          <p:spPr>
            <a:xfrm rot="5869745" flipH="1">
              <a:off x="8615786" y="2097069"/>
              <a:ext cx="2241707" cy="2099810"/>
            </a:xfrm>
            <a:custGeom>
              <a:avLst/>
              <a:gdLst/>
              <a:ahLst/>
              <a:cxnLst/>
              <a:rect l="l" t="t" r="r" b="b"/>
              <a:pathLst>
                <a:path w="1850676" h="1733531" extrusionOk="0">
                  <a:moveTo>
                    <a:pt x="1392436" y="1733532"/>
                  </a:moveTo>
                  <a:cubicBezTo>
                    <a:pt x="1356116" y="1733435"/>
                    <a:pt x="1320056" y="1727407"/>
                    <a:pt x="1285678" y="1715686"/>
                  </a:cubicBezTo>
                  <a:cubicBezTo>
                    <a:pt x="1236246" y="1699120"/>
                    <a:pt x="1202707" y="1667331"/>
                    <a:pt x="1170265" y="1636579"/>
                  </a:cubicBezTo>
                  <a:cubicBezTo>
                    <a:pt x="1134465" y="1602648"/>
                    <a:pt x="1100652" y="1570585"/>
                    <a:pt x="1046178" y="1557516"/>
                  </a:cubicBezTo>
                  <a:cubicBezTo>
                    <a:pt x="936663" y="1531212"/>
                    <a:pt x="787034" y="1537364"/>
                    <a:pt x="645934" y="1573962"/>
                  </a:cubicBezTo>
                  <a:cubicBezTo>
                    <a:pt x="619752" y="1580748"/>
                    <a:pt x="594312" y="1588649"/>
                    <a:pt x="569708" y="1596287"/>
                  </a:cubicBezTo>
                  <a:cubicBezTo>
                    <a:pt x="501149" y="1617576"/>
                    <a:pt x="436413" y="1637672"/>
                    <a:pt x="358035" y="1635267"/>
                  </a:cubicBezTo>
                  <a:cubicBezTo>
                    <a:pt x="254669" y="1632077"/>
                    <a:pt x="171648" y="1597009"/>
                    <a:pt x="111287" y="1531026"/>
                  </a:cubicBezTo>
                  <a:cubicBezTo>
                    <a:pt x="1920" y="1411486"/>
                    <a:pt x="-4410" y="1219941"/>
                    <a:pt x="1554" y="1116410"/>
                  </a:cubicBezTo>
                  <a:cubicBezTo>
                    <a:pt x="8107" y="1002705"/>
                    <a:pt x="65082" y="916910"/>
                    <a:pt x="120184" y="833934"/>
                  </a:cubicBezTo>
                  <a:cubicBezTo>
                    <a:pt x="156891" y="778660"/>
                    <a:pt x="194848" y="721507"/>
                    <a:pt x="216967" y="656868"/>
                  </a:cubicBezTo>
                  <a:cubicBezTo>
                    <a:pt x="240961" y="586755"/>
                    <a:pt x="215209" y="540235"/>
                    <a:pt x="182615" y="481334"/>
                  </a:cubicBezTo>
                  <a:cubicBezTo>
                    <a:pt x="172598" y="463226"/>
                    <a:pt x="162238" y="444518"/>
                    <a:pt x="152740" y="423951"/>
                  </a:cubicBezTo>
                  <a:cubicBezTo>
                    <a:pt x="135263" y="386107"/>
                    <a:pt x="109998" y="314530"/>
                    <a:pt x="137219" y="260338"/>
                  </a:cubicBezTo>
                  <a:cubicBezTo>
                    <a:pt x="151932" y="231046"/>
                    <a:pt x="179130" y="211474"/>
                    <a:pt x="218109" y="202115"/>
                  </a:cubicBezTo>
                  <a:cubicBezTo>
                    <a:pt x="233358" y="184870"/>
                    <a:pt x="291950" y="118603"/>
                    <a:pt x="292911" y="117516"/>
                  </a:cubicBezTo>
                  <a:cubicBezTo>
                    <a:pt x="386915" y="11220"/>
                    <a:pt x="545185" y="-46895"/>
                    <a:pt x="665864" y="47653"/>
                  </a:cubicBezTo>
                  <a:cubicBezTo>
                    <a:pt x="728262" y="96551"/>
                    <a:pt x="749163" y="170319"/>
                    <a:pt x="755706" y="223593"/>
                  </a:cubicBezTo>
                  <a:cubicBezTo>
                    <a:pt x="757972" y="242056"/>
                    <a:pt x="759469" y="260600"/>
                    <a:pt x="760911" y="278544"/>
                  </a:cubicBezTo>
                  <a:cubicBezTo>
                    <a:pt x="768322" y="370622"/>
                    <a:pt x="774723" y="450145"/>
                    <a:pt x="879443" y="483377"/>
                  </a:cubicBezTo>
                  <a:cubicBezTo>
                    <a:pt x="947576" y="504993"/>
                    <a:pt x="1018346" y="489694"/>
                    <a:pt x="1065714" y="473050"/>
                  </a:cubicBezTo>
                  <a:cubicBezTo>
                    <a:pt x="1076682" y="469192"/>
                    <a:pt x="1087522" y="464920"/>
                    <a:pt x="1098369" y="460647"/>
                  </a:cubicBezTo>
                  <a:cubicBezTo>
                    <a:pt x="1124661" y="449293"/>
                    <a:pt x="1152031" y="440620"/>
                    <a:pt x="1180062" y="434759"/>
                  </a:cubicBezTo>
                  <a:cubicBezTo>
                    <a:pt x="1214374" y="428050"/>
                    <a:pt x="1249918" y="436281"/>
                    <a:pt x="1277792" y="457391"/>
                  </a:cubicBezTo>
                  <a:cubicBezTo>
                    <a:pt x="1333641" y="498676"/>
                    <a:pt x="1362178" y="582722"/>
                    <a:pt x="1370256" y="647613"/>
                  </a:cubicBezTo>
                  <a:cubicBezTo>
                    <a:pt x="1376171" y="695128"/>
                    <a:pt x="1366482" y="741538"/>
                    <a:pt x="1357110" y="786420"/>
                  </a:cubicBezTo>
                  <a:cubicBezTo>
                    <a:pt x="1346280" y="838283"/>
                    <a:pt x="1336055" y="887262"/>
                    <a:pt x="1348721" y="936350"/>
                  </a:cubicBezTo>
                  <a:cubicBezTo>
                    <a:pt x="1354781" y="963365"/>
                    <a:pt x="1371188" y="986926"/>
                    <a:pt x="1394418" y="1001973"/>
                  </a:cubicBezTo>
                  <a:cubicBezTo>
                    <a:pt x="1424582" y="1019698"/>
                    <a:pt x="1464577" y="1012038"/>
                    <a:pt x="1506920" y="1003929"/>
                  </a:cubicBezTo>
                  <a:cubicBezTo>
                    <a:pt x="1559777" y="993810"/>
                    <a:pt x="1614425" y="983374"/>
                    <a:pt x="1655720" y="1022758"/>
                  </a:cubicBezTo>
                  <a:cubicBezTo>
                    <a:pt x="1673891" y="1040100"/>
                    <a:pt x="1678746" y="1063803"/>
                    <a:pt x="1683027" y="1084719"/>
                  </a:cubicBezTo>
                  <a:cubicBezTo>
                    <a:pt x="1684027" y="1089615"/>
                    <a:pt x="1685022" y="1094488"/>
                    <a:pt x="1686191" y="1099232"/>
                  </a:cubicBezTo>
                  <a:cubicBezTo>
                    <a:pt x="1695508" y="1137085"/>
                    <a:pt x="1722384" y="1162165"/>
                    <a:pt x="1750838" y="1188709"/>
                  </a:cubicBezTo>
                  <a:cubicBezTo>
                    <a:pt x="1769456" y="1205017"/>
                    <a:pt x="1786430" y="1223113"/>
                    <a:pt x="1801516" y="1242737"/>
                  </a:cubicBezTo>
                  <a:cubicBezTo>
                    <a:pt x="1812476" y="1257849"/>
                    <a:pt x="1821933" y="1273997"/>
                    <a:pt x="1829752" y="1290951"/>
                  </a:cubicBezTo>
                  <a:lnTo>
                    <a:pt x="1829752" y="1290951"/>
                  </a:lnTo>
                  <a:cubicBezTo>
                    <a:pt x="1913620" y="1473840"/>
                    <a:pt x="1725044" y="1592026"/>
                    <a:pt x="1623732" y="1655528"/>
                  </a:cubicBezTo>
                  <a:cubicBezTo>
                    <a:pt x="1562262" y="1694048"/>
                    <a:pt x="1484523" y="1733532"/>
                    <a:pt x="1392436" y="1733532"/>
                  </a:cubicBezTo>
                  <a:close/>
                  <a:moveTo>
                    <a:pt x="894484" y="1507881"/>
                  </a:moveTo>
                  <a:cubicBezTo>
                    <a:pt x="948137" y="1507342"/>
                    <a:pt x="1001671" y="1513041"/>
                    <a:pt x="1054010" y="1524863"/>
                  </a:cubicBezTo>
                  <a:cubicBezTo>
                    <a:pt x="1117211" y="1540042"/>
                    <a:pt x="1155918" y="1576727"/>
                    <a:pt x="1193345" y="1612210"/>
                  </a:cubicBezTo>
                  <a:cubicBezTo>
                    <a:pt x="1224509" y="1641748"/>
                    <a:pt x="1253941" y="1669647"/>
                    <a:pt x="1296340" y="1683864"/>
                  </a:cubicBezTo>
                  <a:cubicBezTo>
                    <a:pt x="1396340" y="1717359"/>
                    <a:pt x="1488930" y="1700409"/>
                    <a:pt x="1605916" y="1627072"/>
                  </a:cubicBezTo>
                  <a:cubicBezTo>
                    <a:pt x="1734088" y="1546741"/>
                    <a:pt x="1865301" y="1448980"/>
                    <a:pt x="1799256" y="1304950"/>
                  </a:cubicBezTo>
                  <a:lnTo>
                    <a:pt x="1799256" y="1304960"/>
                  </a:lnTo>
                  <a:cubicBezTo>
                    <a:pt x="1792352" y="1289997"/>
                    <a:pt x="1784004" y="1275745"/>
                    <a:pt x="1774328" y="1262407"/>
                  </a:cubicBezTo>
                  <a:cubicBezTo>
                    <a:pt x="1760504" y="1244557"/>
                    <a:pt x="1744972" y="1228098"/>
                    <a:pt x="1727954" y="1213264"/>
                  </a:cubicBezTo>
                  <a:cubicBezTo>
                    <a:pt x="1697157" y="1184523"/>
                    <a:pt x="1665311" y="1154821"/>
                    <a:pt x="1653607" y="1107253"/>
                  </a:cubicBezTo>
                  <a:cubicBezTo>
                    <a:pt x="1652334" y="1102084"/>
                    <a:pt x="1651247" y="1096783"/>
                    <a:pt x="1650155" y="1091461"/>
                  </a:cubicBezTo>
                  <a:cubicBezTo>
                    <a:pt x="1646539" y="1073813"/>
                    <a:pt x="1643126" y="1057137"/>
                    <a:pt x="1632557" y="1047050"/>
                  </a:cubicBezTo>
                  <a:cubicBezTo>
                    <a:pt x="1603749" y="1019577"/>
                    <a:pt x="1559771" y="1027992"/>
                    <a:pt x="1513228" y="1036909"/>
                  </a:cubicBezTo>
                  <a:cubicBezTo>
                    <a:pt x="1466646" y="1045826"/>
                    <a:pt x="1418487" y="1055060"/>
                    <a:pt x="1377422" y="1030910"/>
                  </a:cubicBezTo>
                  <a:cubicBezTo>
                    <a:pt x="1346504" y="1011344"/>
                    <a:pt x="1324525" y="980391"/>
                    <a:pt x="1316236" y="944743"/>
                  </a:cubicBezTo>
                  <a:cubicBezTo>
                    <a:pt x="1301605" y="888060"/>
                    <a:pt x="1313122" y="832907"/>
                    <a:pt x="1324264" y="779557"/>
                  </a:cubicBezTo>
                  <a:cubicBezTo>
                    <a:pt x="1333478" y="735419"/>
                    <a:pt x="1342184" y="693729"/>
                    <a:pt x="1336962" y="651766"/>
                  </a:cubicBezTo>
                  <a:cubicBezTo>
                    <a:pt x="1330070" y="596437"/>
                    <a:pt x="1305214" y="519396"/>
                    <a:pt x="1257851" y="484393"/>
                  </a:cubicBezTo>
                  <a:cubicBezTo>
                    <a:pt x="1237376" y="468739"/>
                    <a:pt x="1211140" y="462700"/>
                    <a:pt x="1185885" y="467827"/>
                  </a:cubicBezTo>
                  <a:cubicBezTo>
                    <a:pt x="1160066" y="473309"/>
                    <a:pt x="1134862" y="481371"/>
                    <a:pt x="1110652" y="491890"/>
                  </a:cubicBezTo>
                  <a:cubicBezTo>
                    <a:pt x="1099429" y="496316"/>
                    <a:pt x="1088195" y="500731"/>
                    <a:pt x="1076834" y="504719"/>
                  </a:cubicBezTo>
                  <a:cubicBezTo>
                    <a:pt x="1024633" y="523056"/>
                    <a:pt x="946254" y="539820"/>
                    <a:pt x="869296" y="515374"/>
                  </a:cubicBezTo>
                  <a:cubicBezTo>
                    <a:pt x="743085" y="475323"/>
                    <a:pt x="735143" y="376655"/>
                    <a:pt x="727464" y="281243"/>
                  </a:cubicBezTo>
                  <a:cubicBezTo>
                    <a:pt x="726050" y="263650"/>
                    <a:pt x="724581" y="245454"/>
                    <a:pt x="722401" y="227691"/>
                  </a:cubicBezTo>
                  <a:cubicBezTo>
                    <a:pt x="716628" y="180701"/>
                    <a:pt x="698539" y="115904"/>
                    <a:pt x="645175" y="74082"/>
                  </a:cubicBezTo>
                  <a:cubicBezTo>
                    <a:pt x="540822" y="-7663"/>
                    <a:pt x="401639" y="45227"/>
                    <a:pt x="318077" y="139721"/>
                  </a:cubicBezTo>
                  <a:lnTo>
                    <a:pt x="317362" y="139087"/>
                  </a:lnTo>
                  <a:cubicBezTo>
                    <a:pt x="309683" y="149218"/>
                    <a:pt x="290010" y="171461"/>
                    <a:pt x="239650" y="228417"/>
                  </a:cubicBezTo>
                  <a:lnTo>
                    <a:pt x="235969" y="232587"/>
                  </a:lnTo>
                  <a:lnTo>
                    <a:pt x="230528" y="233728"/>
                  </a:lnTo>
                  <a:cubicBezTo>
                    <a:pt x="199087" y="240324"/>
                    <a:pt x="177781" y="254349"/>
                    <a:pt x="167202" y="275408"/>
                  </a:cubicBezTo>
                  <a:cubicBezTo>
                    <a:pt x="146307" y="317021"/>
                    <a:pt x="168257" y="377519"/>
                    <a:pt x="183205" y="409876"/>
                  </a:cubicBezTo>
                  <a:cubicBezTo>
                    <a:pt x="192189" y="429327"/>
                    <a:pt x="202243" y="447501"/>
                    <a:pt x="211971" y="465073"/>
                  </a:cubicBezTo>
                  <a:cubicBezTo>
                    <a:pt x="245684" y="525996"/>
                    <a:pt x="277531" y="583531"/>
                    <a:pt x="248710" y="667753"/>
                  </a:cubicBezTo>
                  <a:cubicBezTo>
                    <a:pt x="225193" y="736479"/>
                    <a:pt x="186018" y="795468"/>
                    <a:pt x="148135" y="852511"/>
                  </a:cubicBezTo>
                  <a:cubicBezTo>
                    <a:pt x="93084" y="935410"/>
                    <a:pt x="41084" y="1013709"/>
                    <a:pt x="35055" y="1118333"/>
                  </a:cubicBezTo>
                  <a:cubicBezTo>
                    <a:pt x="29396" y="1216586"/>
                    <a:pt x="34989" y="1397914"/>
                    <a:pt x="136039" y="1508362"/>
                  </a:cubicBezTo>
                  <a:cubicBezTo>
                    <a:pt x="190059" y="1567406"/>
                    <a:pt x="265095" y="1598812"/>
                    <a:pt x="359071" y="1601719"/>
                  </a:cubicBezTo>
                  <a:cubicBezTo>
                    <a:pt x="431798" y="1603937"/>
                    <a:pt x="493967" y="1584650"/>
                    <a:pt x="559762" y="1564225"/>
                  </a:cubicBezTo>
                  <a:cubicBezTo>
                    <a:pt x="584737" y="1556477"/>
                    <a:pt x="610560" y="1548456"/>
                    <a:pt x="637513" y="1541462"/>
                  </a:cubicBezTo>
                  <a:cubicBezTo>
                    <a:pt x="721437" y="1519605"/>
                    <a:pt x="807763" y="1508324"/>
                    <a:pt x="894484" y="15078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Google Shape;148;p7"/>
            <p:cNvSpPr/>
            <p:nvPr/>
          </p:nvSpPr>
          <p:spPr>
            <a:xfrm flipH="1">
              <a:off x="-661385" y="-778977"/>
              <a:ext cx="2346433" cy="1683429"/>
            </a:xfrm>
            <a:custGeom>
              <a:avLst/>
              <a:gdLst/>
              <a:ahLst/>
              <a:cxnLst/>
              <a:rect l="l" t="t" r="r" b="b"/>
              <a:pathLst>
                <a:path w="1939201" h="1391264" extrusionOk="0">
                  <a:moveTo>
                    <a:pt x="1267674" y="1391264"/>
                  </a:moveTo>
                  <a:cubicBezTo>
                    <a:pt x="1161742" y="1391274"/>
                    <a:pt x="1046799" y="1287114"/>
                    <a:pt x="965193" y="1203161"/>
                  </a:cubicBezTo>
                  <a:cubicBezTo>
                    <a:pt x="929503" y="1165024"/>
                    <a:pt x="896376" y="1124564"/>
                    <a:pt x="866032" y="1082047"/>
                  </a:cubicBezTo>
                  <a:cubicBezTo>
                    <a:pt x="780319" y="967117"/>
                    <a:pt x="712597" y="876356"/>
                    <a:pt x="543692" y="913489"/>
                  </a:cubicBezTo>
                  <a:cubicBezTo>
                    <a:pt x="371403" y="951404"/>
                    <a:pt x="246890" y="922045"/>
                    <a:pt x="139974" y="818388"/>
                  </a:cubicBezTo>
                  <a:cubicBezTo>
                    <a:pt x="31933" y="713650"/>
                    <a:pt x="-22125" y="551021"/>
                    <a:pt x="8504" y="422897"/>
                  </a:cubicBezTo>
                  <a:cubicBezTo>
                    <a:pt x="39606" y="285532"/>
                    <a:pt x="127951" y="168035"/>
                    <a:pt x="251249" y="100053"/>
                  </a:cubicBezTo>
                  <a:cubicBezTo>
                    <a:pt x="484707" y="-34531"/>
                    <a:pt x="799358" y="-12948"/>
                    <a:pt x="997853" y="46424"/>
                  </a:cubicBezTo>
                  <a:cubicBezTo>
                    <a:pt x="1100519" y="77131"/>
                    <a:pt x="1189137" y="140666"/>
                    <a:pt x="1274841" y="202108"/>
                  </a:cubicBezTo>
                  <a:cubicBezTo>
                    <a:pt x="1365470" y="267085"/>
                    <a:pt x="1451073" y="328457"/>
                    <a:pt x="1550977" y="353335"/>
                  </a:cubicBezTo>
                  <a:cubicBezTo>
                    <a:pt x="1560483" y="355578"/>
                    <a:pt x="1570377" y="355617"/>
                    <a:pt x="1579900" y="353449"/>
                  </a:cubicBezTo>
                  <a:cubicBezTo>
                    <a:pt x="1591653" y="351051"/>
                    <a:pt x="1603746" y="350842"/>
                    <a:pt x="1615574" y="352831"/>
                  </a:cubicBezTo>
                  <a:cubicBezTo>
                    <a:pt x="1805092" y="387583"/>
                    <a:pt x="1821071" y="429005"/>
                    <a:pt x="1826325" y="442616"/>
                  </a:cubicBezTo>
                  <a:cubicBezTo>
                    <a:pt x="1830697" y="453810"/>
                    <a:pt x="1830174" y="466325"/>
                    <a:pt x="1824884" y="477115"/>
                  </a:cubicBezTo>
                  <a:cubicBezTo>
                    <a:pt x="1933700" y="626500"/>
                    <a:pt x="2000856" y="937470"/>
                    <a:pt x="1857009" y="1086811"/>
                  </a:cubicBezTo>
                  <a:cubicBezTo>
                    <a:pt x="1764304" y="1183064"/>
                    <a:pt x="1703037" y="1183485"/>
                    <a:pt x="1585285" y="1161476"/>
                  </a:cubicBezTo>
                  <a:lnTo>
                    <a:pt x="1574111" y="1159361"/>
                  </a:lnTo>
                  <a:cubicBezTo>
                    <a:pt x="1517694" y="1148635"/>
                    <a:pt x="1505984" y="1146423"/>
                    <a:pt x="1468289" y="1184895"/>
                  </a:cubicBezTo>
                  <a:cubicBezTo>
                    <a:pt x="1448637" y="1204969"/>
                    <a:pt x="1435213" y="1233109"/>
                    <a:pt x="1420992" y="1262899"/>
                  </a:cubicBezTo>
                  <a:cubicBezTo>
                    <a:pt x="1397551" y="1312041"/>
                    <a:pt x="1373301" y="1362851"/>
                    <a:pt x="1317594" y="1382778"/>
                  </a:cubicBezTo>
                  <a:cubicBezTo>
                    <a:pt x="1301569" y="1388468"/>
                    <a:pt x="1284680" y="1391339"/>
                    <a:pt x="1267675" y="1391264"/>
                  </a:cubicBezTo>
                  <a:close/>
                  <a:moveTo>
                    <a:pt x="615008" y="871547"/>
                  </a:moveTo>
                  <a:cubicBezTo>
                    <a:pt x="750914" y="871547"/>
                    <a:pt x="820199" y="964457"/>
                    <a:pt x="892925" y="1061966"/>
                  </a:cubicBezTo>
                  <a:cubicBezTo>
                    <a:pt x="922415" y="1103299"/>
                    <a:pt x="954592" y="1142646"/>
                    <a:pt x="989245" y="1179753"/>
                  </a:cubicBezTo>
                  <a:cubicBezTo>
                    <a:pt x="1040059" y="1232027"/>
                    <a:pt x="1194589" y="1391127"/>
                    <a:pt x="1306300" y="1351164"/>
                  </a:cubicBezTo>
                  <a:cubicBezTo>
                    <a:pt x="1348976" y="1335897"/>
                    <a:pt x="1369249" y="1293414"/>
                    <a:pt x="1390712" y="1248441"/>
                  </a:cubicBezTo>
                  <a:cubicBezTo>
                    <a:pt x="1405480" y="1217482"/>
                    <a:pt x="1420762" y="1185468"/>
                    <a:pt x="1444323" y="1161400"/>
                  </a:cubicBezTo>
                  <a:cubicBezTo>
                    <a:pt x="1494591" y="1110072"/>
                    <a:pt x="1521473" y="1115163"/>
                    <a:pt x="1580382" y="1126382"/>
                  </a:cubicBezTo>
                  <a:lnTo>
                    <a:pt x="1591446" y="1128474"/>
                  </a:lnTo>
                  <a:cubicBezTo>
                    <a:pt x="1701464" y="1149041"/>
                    <a:pt x="1750749" y="1148762"/>
                    <a:pt x="1832847" y="1063513"/>
                  </a:cubicBezTo>
                  <a:cubicBezTo>
                    <a:pt x="1962886" y="928504"/>
                    <a:pt x="1898375" y="626292"/>
                    <a:pt x="1791426" y="488442"/>
                  </a:cubicBezTo>
                  <a:lnTo>
                    <a:pt x="1783496" y="478230"/>
                  </a:lnTo>
                  <a:lnTo>
                    <a:pt x="1791350" y="467957"/>
                  </a:lnTo>
                  <a:cubicBezTo>
                    <a:pt x="1797183" y="460308"/>
                    <a:pt x="1795730" y="456526"/>
                    <a:pt x="1795020" y="454707"/>
                  </a:cubicBezTo>
                  <a:cubicBezTo>
                    <a:pt x="1788029" y="436583"/>
                    <a:pt x="1735621" y="408974"/>
                    <a:pt x="1609524" y="385856"/>
                  </a:cubicBezTo>
                  <a:cubicBezTo>
                    <a:pt x="1601425" y="384582"/>
                    <a:pt x="1593160" y="384836"/>
                    <a:pt x="1585154" y="386605"/>
                  </a:cubicBezTo>
                  <a:cubicBezTo>
                    <a:pt x="1571184" y="389528"/>
                    <a:pt x="1556738" y="389291"/>
                    <a:pt x="1542871" y="385911"/>
                  </a:cubicBezTo>
                  <a:cubicBezTo>
                    <a:pt x="1436743" y="359482"/>
                    <a:pt x="1344497" y="293351"/>
                    <a:pt x="1255288" y="229396"/>
                  </a:cubicBezTo>
                  <a:cubicBezTo>
                    <a:pt x="1171836" y="169560"/>
                    <a:pt x="1085533" y="107686"/>
                    <a:pt x="988240" y="78584"/>
                  </a:cubicBezTo>
                  <a:cubicBezTo>
                    <a:pt x="780953" y="16580"/>
                    <a:pt x="477858" y="8170"/>
                    <a:pt x="267992" y="129143"/>
                  </a:cubicBezTo>
                  <a:cubicBezTo>
                    <a:pt x="152786" y="192628"/>
                    <a:pt x="70224" y="302382"/>
                    <a:pt x="41142" y="430710"/>
                  </a:cubicBezTo>
                  <a:cubicBezTo>
                    <a:pt x="13124" y="547873"/>
                    <a:pt x="63371" y="697384"/>
                    <a:pt x="163328" y="794281"/>
                  </a:cubicBezTo>
                  <a:cubicBezTo>
                    <a:pt x="261275" y="889235"/>
                    <a:pt x="376328" y="915899"/>
                    <a:pt x="536482" y="880705"/>
                  </a:cubicBezTo>
                  <a:cubicBezTo>
                    <a:pt x="562250" y="874823"/>
                    <a:pt x="588579" y="871752"/>
                    <a:pt x="615008" y="87154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49" name="Google Shape;149;p7"/>
          <p:cNvSpPr txBox="1">
            <a:spLocks noGrp="1"/>
          </p:cNvSpPr>
          <p:nvPr>
            <p:ph type="title"/>
          </p:nvPr>
        </p:nvSpPr>
        <p:spPr>
          <a:xfrm>
            <a:off x="1405869" y="1064033"/>
            <a:ext cx="5651200" cy="1534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150" name="Google Shape;150;p7"/>
          <p:cNvSpPr txBox="1">
            <a:spLocks noGrp="1"/>
          </p:cNvSpPr>
          <p:nvPr>
            <p:ph type="subTitle" idx="1"/>
          </p:nvPr>
        </p:nvSpPr>
        <p:spPr>
          <a:xfrm>
            <a:off x="1405869" y="2649593"/>
            <a:ext cx="5651200" cy="3196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Lato Light"/>
              <a:buChar char="●"/>
              <a:defRPr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600"/>
              <a:buFont typeface="Nunito Light"/>
              <a:buChar char="○"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■"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500"/>
              <a:buFont typeface="Nunito Light"/>
              <a:buChar char="●"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76A28"/>
              </a:buClr>
              <a:buSzPts val="1400"/>
              <a:buFont typeface="Nunito Light"/>
              <a:buChar char="○"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400"/>
              <a:buFont typeface="Nunito Light"/>
              <a:buChar char="■"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●"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300"/>
              <a:buFont typeface="Nunito Light"/>
              <a:buChar char="○"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999999"/>
              </a:buClr>
              <a:buSzPts val="14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151" name="Google Shape;151;p7"/>
          <p:cNvSpPr>
            <a:spLocks noGrp="1"/>
          </p:cNvSpPr>
          <p:nvPr>
            <p:ph type="pic" idx="2"/>
          </p:nvPr>
        </p:nvSpPr>
        <p:spPr>
          <a:xfrm>
            <a:off x="7536931" y="1513300"/>
            <a:ext cx="3249200" cy="3976000"/>
          </a:xfrm>
          <a:prstGeom prst="teardrop">
            <a:avLst>
              <a:gd name="adj" fmla="val 100000"/>
            </a:avLst>
          </a:prstGeom>
          <a:noFill/>
          <a:ln w="38100" cap="flat" cmpd="sng">
            <a:solidFill>
              <a:schemeClr val="dk1"/>
            </a:solidFill>
            <a:prstDash val="solid"/>
            <a:round/>
            <a:headEnd type="none" w="sm" len="sm"/>
            <a:tailEnd type="none" w="sm" len="sm"/>
          </a:ln>
        </p:spPr>
      </p:sp>
    </p:spTree>
  </p:cSld>
  <p:clrMapOvr>
    <a:masterClrMapping/>
  </p:clrMapOvr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 point">
  <p:cSld name="MAIN_POINT">
    <p:spTree>
      <p:nvGrpSpPr>
        <p:cNvPr id="1" name="Shape 1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3" name="Google Shape;153;p8"/>
          <p:cNvGrpSpPr/>
          <p:nvPr/>
        </p:nvGrpSpPr>
        <p:grpSpPr>
          <a:xfrm rot="10800000" flipH="1">
            <a:off x="-448220" y="-1368378"/>
            <a:ext cx="14664592" cy="9637369"/>
            <a:chOff x="-336165" y="-1129441"/>
            <a:chExt cx="10998444" cy="7228027"/>
          </a:xfrm>
        </p:grpSpPr>
        <p:sp>
          <p:nvSpPr>
            <p:cNvPr id="154" name="Google Shape;154;p8"/>
            <p:cNvSpPr/>
            <p:nvPr/>
          </p:nvSpPr>
          <p:spPr>
            <a:xfrm rot="1100666">
              <a:off x="8163316" y="-849109"/>
              <a:ext cx="2172768" cy="2423699"/>
            </a:xfrm>
            <a:custGeom>
              <a:avLst/>
              <a:gdLst/>
              <a:ahLst/>
              <a:cxnLst/>
              <a:rect l="l" t="t" r="r" b="b"/>
              <a:pathLst>
                <a:path w="2170896" h="2421611" extrusionOk="0">
                  <a:moveTo>
                    <a:pt x="227233" y="412741"/>
                  </a:moveTo>
                  <a:cubicBezTo>
                    <a:pt x="145295" y="572728"/>
                    <a:pt x="-41414" y="833548"/>
                    <a:pt x="8286" y="1060757"/>
                  </a:cubicBezTo>
                  <a:cubicBezTo>
                    <a:pt x="60672" y="1293343"/>
                    <a:pt x="327976" y="1302754"/>
                    <a:pt x="440807" y="1433164"/>
                  </a:cubicBezTo>
                  <a:cubicBezTo>
                    <a:pt x="538864" y="1547441"/>
                    <a:pt x="540207" y="1712806"/>
                    <a:pt x="623488" y="1862038"/>
                  </a:cubicBezTo>
                  <a:cubicBezTo>
                    <a:pt x="804825" y="2184702"/>
                    <a:pt x="1163470" y="2393089"/>
                    <a:pt x="1449579" y="2419977"/>
                  </a:cubicBezTo>
                  <a:cubicBezTo>
                    <a:pt x="1649721" y="2438800"/>
                    <a:pt x="1825685" y="2289568"/>
                    <a:pt x="2024484" y="2254612"/>
                  </a:cubicBezTo>
                  <a:cubicBezTo>
                    <a:pt x="2064781" y="2247890"/>
                    <a:pt x="2115824" y="2238479"/>
                    <a:pt x="2170897" y="2229068"/>
                  </a:cubicBezTo>
                  <a:lnTo>
                    <a:pt x="2170897" y="0"/>
                  </a:lnTo>
                  <a:lnTo>
                    <a:pt x="384392" y="0"/>
                  </a:lnTo>
                  <a:cubicBezTo>
                    <a:pt x="353497" y="139821"/>
                    <a:pt x="297082" y="275609"/>
                    <a:pt x="227233" y="41274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Google Shape;155;p8"/>
            <p:cNvSpPr/>
            <p:nvPr/>
          </p:nvSpPr>
          <p:spPr>
            <a:xfrm rot="-508449">
              <a:off x="1228367" y="4519094"/>
              <a:ext cx="5153401" cy="1206366"/>
            </a:xfrm>
            <a:custGeom>
              <a:avLst/>
              <a:gdLst/>
              <a:ahLst/>
              <a:cxnLst/>
              <a:rect l="l" t="t" r="r" b="b"/>
              <a:pathLst>
                <a:path w="5148625" h="1205248" extrusionOk="0">
                  <a:moveTo>
                    <a:pt x="196112" y="1038539"/>
                  </a:moveTo>
                  <a:cubicBezTo>
                    <a:pt x="128951" y="1065428"/>
                    <a:pt x="63132" y="1128616"/>
                    <a:pt x="0" y="1205249"/>
                  </a:cubicBezTo>
                  <a:lnTo>
                    <a:pt x="5148626" y="1205249"/>
                  </a:lnTo>
                  <a:cubicBezTo>
                    <a:pt x="5084151" y="1109794"/>
                    <a:pt x="5018333" y="1018373"/>
                    <a:pt x="4959230" y="939051"/>
                  </a:cubicBezTo>
                  <a:cubicBezTo>
                    <a:pt x="4842368" y="785786"/>
                    <a:pt x="4614018" y="624454"/>
                    <a:pt x="4393727" y="581432"/>
                  </a:cubicBezTo>
                  <a:cubicBezTo>
                    <a:pt x="4045829" y="514211"/>
                    <a:pt x="3790614" y="745453"/>
                    <a:pt x="3477640" y="784442"/>
                  </a:cubicBezTo>
                  <a:cubicBezTo>
                    <a:pt x="3194217" y="819397"/>
                    <a:pt x="2976612" y="566644"/>
                    <a:pt x="2764381" y="436234"/>
                  </a:cubicBezTo>
                  <a:cubicBezTo>
                    <a:pt x="2510510" y="281624"/>
                    <a:pt x="2244548" y="125670"/>
                    <a:pt x="1940977" y="42315"/>
                  </a:cubicBezTo>
                  <a:cubicBezTo>
                    <a:pt x="1473531" y="-86750"/>
                    <a:pt x="910715" y="85337"/>
                    <a:pt x="711915" y="477911"/>
                  </a:cubicBezTo>
                  <a:cubicBezTo>
                    <a:pt x="624605" y="648654"/>
                    <a:pt x="750869" y="948462"/>
                    <a:pt x="463417" y="1035850"/>
                  </a:cubicBezTo>
                  <a:cubicBezTo>
                    <a:pt x="382822" y="1061395"/>
                    <a:pt x="282080" y="1003584"/>
                    <a:pt x="196112" y="103853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Google Shape;156;p8"/>
            <p:cNvSpPr/>
            <p:nvPr/>
          </p:nvSpPr>
          <p:spPr>
            <a:xfrm>
              <a:off x="-336165" y="-372774"/>
              <a:ext cx="3230757" cy="1138290"/>
            </a:xfrm>
            <a:custGeom>
              <a:avLst/>
              <a:gdLst/>
              <a:ahLst/>
              <a:cxnLst/>
              <a:rect l="l" t="t" r="r" b="b"/>
              <a:pathLst>
                <a:path w="3230757" h="1138290" extrusionOk="0">
                  <a:moveTo>
                    <a:pt x="1065187" y="826826"/>
                  </a:moveTo>
                  <a:cubicBezTo>
                    <a:pt x="1375474" y="920936"/>
                    <a:pt x="1661584" y="990846"/>
                    <a:pt x="2008139" y="994880"/>
                  </a:cubicBezTo>
                  <a:cubicBezTo>
                    <a:pt x="2307681" y="998913"/>
                    <a:pt x="3324511" y="922280"/>
                    <a:pt x="3223768" y="559284"/>
                  </a:cubicBezTo>
                  <a:cubicBezTo>
                    <a:pt x="3164666" y="348208"/>
                    <a:pt x="2619312" y="353586"/>
                    <a:pt x="2521255" y="151921"/>
                  </a:cubicBezTo>
                  <a:cubicBezTo>
                    <a:pt x="2494391" y="95455"/>
                    <a:pt x="2503793" y="45711"/>
                    <a:pt x="2537374" y="0"/>
                  </a:cubicBezTo>
                  <a:lnTo>
                    <a:pt x="0" y="0"/>
                  </a:lnTo>
                  <a:lnTo>
                    <a:pt x="0" y="1105123"/>
                  </a:lnTo>
                  <a:cubicBezTo>
                    <a:pt x="436552" y="1187133"/>
                    <a:pt x="844896" y="1125289"/>
                    <a:pt x="1065187" y="8268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57" name="Google Shape;157;p8"/>
          <p:cNvGrpSpPr/>
          <p:nvPr/>
        </p:nvGrpSpPr>
        <p:grpSpPr>
          <a:xfrm>
            <a:off x="-1546634" y="-1663629"/>
            <a:ext cx="15187803" cy="10070140"/>
            <a:chOff x="-1159975" y="-1247722"/>
            <a:chExt cx="11390852" cy="7552605"/>
          </a:xfrm>
        </p:grpSpPr>
        <p:grpSp>
          <p:nvGrpSpPr>
            <p:cNvPr id="158" name="Google Shape;158;p8"/>
            <p:cNvGrpSpPr/>
            <p:nvPr/>
          </p:nvGrpSpPr>
          <p:grpSpPr>
            <a:xfrm rot="10800000" flipH="1">
              <a:off x="-1159975" y="-131752"/>
              <a:ext cx="11390852" cy="2804379"/>
              <a:chOff x="-1159975" y="2399674"/>
              <a:chExt cx="11390852" cy="2804379"/>
            </a:xfrm>
          </p:grpSpPr>
          <p:sp>
            <p:nvSpPr>
              <p:cNvPr id="159" name="Google Shape;159;p8"/>
              <p:cNvSpPr/>
              <p:nvPr/>
            </p:nvSpPr>
            <p:spPr>
              <a:xfrm>
                <a:off x="-1159975" y="2399674"/>
                <a:ext cx="1672252" cy="1677361"/>
              </a:xfrm>
              <a:custGeom>
                <a:avLst/>
                <a:gdLst/>
                <a:ahLst/>
                <a:cxnLst/>
                <a:rect l="l" t="t" r="r" b="b"/>
                <a:pathLst>
                  <a:path w="2414805" h="2422182" extrusionOk="0">
                    <a:moveTo>
                      <a:pt x="1352508" y="39350"/>
                    </a:moveTo>
                    <a:cubicBezTo>
                      <a:pt x="1571455" y="-29216"/>
                      <a:pt x="1828014" y="-13083"/>
                      <a:pt x="2010694" y="126738"/>
                    </a:cubicBezTo>
                    <a:cubicBezTo>
                      <a:pt x="2072483" y="173793"/>
                      <a:pt x="2126212" y="235637"/>
                      <a:pt x="2145017" y="310925"/>
                    </a:cubicBezTo>
                    <a:cubicBezTo>
                      <a:pt x="2181285" y="461501"/>
                      <a:pt x="2068453" y="609389"/>
                      <a:pt x="1939502" y="695432"/>
                    </a:cubicBezTo>
                    <a:cubicBezTo>
                      <a:pt x="1810551" y="781476"/>
                      <a:pt x="1657422" y="832565"/>
                      <a:pt x="1543247" y="936086"/>
                    </a:cubicBezTo>
                    <a:cubicBezTo>
                      <a:pt x="1508323" y="967008"/>
                      <a:pt x="1477429" y="1004652"/>
                      <a:pt x="1463996" y="1050363"/>
                    </a:cubicBezTo>
                    <a:cubicBezTo>
                      <a:pt x="1433102" y="1160606"/>
                      <a:pt x="1524442" y="1270849"/>
                      <a:pt x="1627871" y="1317904"/>
                    </a:cubicBezTo>
                    <a:cubicBezTo>
                      <a:pt x="1731301" y="1364960"/>
                      <a:pt x="1849505" y="1373026"/>
                      <a:pt x="1955621" y="1413359"/>
                    </a:cubicBezTo>
                    <a:cubicBezTo>
                      <a:pt x="2130242" y="1479236"/>
                      <a:pt x="2261879" y="1627124"/>
                      <a:pt x="2349189" y="1792489"/>
                    </a:cubicBezTo>
                    <a:cubicBezTo>
                      <a:pt x="2406948" y="1902732"/>
                      <a:pt x="2445902" y="2041209"/>
                      <a:pt x="2381427" y="2147419"/>
                    </a:cubicBezTo>
                    <a:cubicBezTo>
                      <a:pt x="2339787" y="2215985"/>
                      <a:pt x="2261879" y="2254973"/>
                      <a:pt x="2185314" y="2277829"/>
                    </a:cubicBezTo>
                    <a:cubicBezTo>
                      <a:pt x="1819954" y="2386728"/>
                      <a:pt x="1418326" y="2205229"/>
                      <a:pt x="1160425" y="1925588"/>
                    </a:cubicBezTo>
                    <a:cubicBezTo>
                      <a:pt x="1136247" y="1898699"/>
                      <a:pt x="1110725" y="1870466"/>
                      <a:pt x="1077144" y="1855677"/>
                    </a:cubicBezTo>
                    <a:cubicBezTo>
                      <a:pt x="1043563" y="1840889"/>
                      <a:pt x="999236" y="1844922"/>
                      <a:pt x="977745" y="1874499"/>
                    </a:cubicBezTo>
                    <a:cubicBezTo>
                      <a:pt x="968342" y="1889288"/>
                      <a:pt x="964312" y="1906766"/>
                      <a:pt x="961626" y="1922899"/>
                    </a:cubicBezTo>
                    <a:cubicBezTo>
                      <a:pt x="926702" y="2108430"/>
                      <a:pt x="854167" y="2312784"/>
                      <a:pt x="680889" y="2390761"/>
                    </a:cubicBezTo>
                    <a:cubicBezTo>
                      <a:pt x="561341" y="2444538"/>
                      <a:pt x="421645" y="2423027"/>
                      <a:pt x="300753" y="2373284"/>
                    </a:cubicBezTo>
                    <a:cubicBezTo>
                      <a:pt x="182548" y="2323540"/>
                      <a:pt x="69717" y="2241529"/>
                      <a:pt x="24047" y="2121875"/>
                    </a:cubicBezTo>
                    <a:cubicBezTo>
                      <a:pt x="-32369" y="1975332"/>
                      <a:pt x="21360" y="1812655"/>
                      <a:pt x="73746" y="1666112"/>
                    </a:cubicBezTo>
                    <a:cubicBezTo>
                      <a:pt x="178519" y="1375715"/>
                      <a:pt x="283291" y="1085318"/>
                      <a:pt x="389407" y="793576"/>
                    </a:cubicBezTo>
                    <a:cubicBezTo>
                      <a:pt x="427018" y="690055"/>
                      <a:pt x="475374" y="575778"/>
                      <a:pt x="565371" y="507212"/>
                    </a:cubicBezTo>
                    <a:cubicBezTo>
                      <a:pt x="625817" y="461501"/>
                      <a:pt x="702381" y="446713"/>
                      <a:pt x="765513" y="406380"/>
                    </a:cubicBezTo>
                    <a:cubicBezTo>
                      <a:pt x="965655" y="277314"/>
                      <a:pt x="1116098" y="111949"/>
                      <a:pt x="1352508" y="39350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160" name="Google Shape;160;p8"/>
              <p:cNvGrpSpPr/>
              <p:nvPr/>
            </p:nvGrpSpPr>
            <p:grpSpPr>
              <a:xfrm>
                <a:off x="8268516" y="3472706"/>
                <a:ext cx="1962362" cy="1731348"/>
                <a:chOff x="6730953" y="3918493"/>
                <a:chExt cx="1962362" cy="1731348"/>
              </a:xfrm>
            </p:grpSpPr>
            <p:sp>
              <p:nvSpPr>
                <p:cNvPr id="161" name="Google Shape;161;p8"/>
                <p:cNvSpPr/>
                <p:nvPr/>
              </p:nvSpPr>
              <p:spPr>
                <a:xfrm>
                  <a:off x="7606240" y="3993966"/>
                  <a:ext cx="989494" cy="7335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9494" h="733535" extrusionOk="0">
                      <a:moveTo>
                        <a:pt x="248676" y="549786"/>
                      </a:moveTo>
                      <a:cubicBezTo>
                        <a:pt x="374940" y="588774"/>
                        <a:pt x="481056" y="704395"/>
                        <a:pt x="607321" y="729940"/>
                      </a:cubicBezTo>
                      <a:cubicBezTo>
                        <a:pt x="694631" y="747417"/>
                        <a:pt x="784628" y="699018"/>
                        <a:pt x="842387" y="631796"/>
                      </a:cubicBezTo>
                      <a:cubicBezTo>
                        <a:pt x="898803" y="565919"/>
                        <a:pt x="1010291" y="376354"/>
                        <a:pt x="986113" y="284933"/>
                      </a:cubicBezTo>
                      <a:cubicBezTo>
                        <a:pt x="957905" y="182756"/>
                        <a:pt x="832985" y="178723"/>
                        <a:pt x="745674" y="130323"/>
                      </a:cubicBezTo>
                      <a:cubicBezTo>
                        <a:pt x="585829" y="42935"/>
                        <a:pt x="459564" y="-39076"/>
                        <a:pt x="267481" y="20080"/>
                      </a:cubicBezTo>
                      <a:cubicBezTo>
                        <a:pt x="119725" y="65790"/>
                        <a:pt x="-15941" y="198889"/>
                        <a:pt x="1521" y="365598"/>
                      </a:cubicBezTo>
                      <a:cubicBezTo>
                        <a:pt x="16296" y="526930"/>
                        <a:pt x="121069" y="509453"/>
                        <a:pt x="248676" y="54978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2" name="Google Shape;162;p8"/>
                <p:cNvSpPr/>
                <p:nvPr/>
              </p:nvSpPr>
              <p:spPr>
                <a:xfrm>
                  <a:off x="7374821" y="4790720"/>
                  <a:ext cx="983997" cy="8591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997" h="859121" extrusionOk="0">
                      <a:moveTo>
                        <a:pt x="664119" y="406"/>
                      </a:moveTo>
                      <a:cubicBezTo>
                        <a:pt x="462633" y="-7660"/>
                        <a:pt x="261148" y="105272"/>
                        <a:pt x="133540" y="255849"/>
                      </a:cubicBezTo>
                      <a:cubicBezTo>
                        <a:pt x="23395" y="384914"/>
                        <a:pt x="-54513" y="574479"/>
                        <a:pt x="47573" y="730433"/>
                      </a:cubicBezTo>
                      <a:cubicBezTo>
                        <a:pt x="232940" y="1016797"/>
                        <a:pt x="502931" y="751944"/>
                        <a:pt x="696357" y="639012"/>
                      </a:cubicBezTo>
                      <a:cubicBezTo>
                        <a:pt x="748743" y="609434"/>
                        <a:pt x="805159" y="586579"/>
                        <a:pt x="853515" y="550279"/>
                      </a:cubicBezTo>
                      <a:cubicBezTo>
                        <a:pt x="1108730" y="356681"/>
                        <a:pt x="959631" y="11162"/>
                        <a:pt x="664119" y="40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3" name="Google Shape;163;p8"/>
                <p:cNvSpPr/>
                <p:nvPr/>
              </p:nvSpPr>
              <p:spPr>
                <a:xfrm>
                  <a:off x="6866202" y="4524993"/>
                  <a:ext cx="679468" cy="5896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9468" h="589657" extrusionOk="0">
                      <a:moveTo>
                        <a:pt x="515895" y="353522"/>
                      </a:moveTo>
                      <a:cubicBezTo>
                        <a:pt x="549476" y="319911"/>
                        <a:pt x="612608" y="346800"/>
                        <a:pt x="647532" y="309156"/>
                      </a:cubicBezTo>
                      <a:cubicBezTo>
                        <a:pt x="694546" y="259412"/>
                        <a:pt x="683800" y="169335"/>
                        <a:pt x="652905" y="112869"/>
                      </a:cubicBezTo>
                      <a:cubicBezTo>
                        <a:pt x="592460" y="1281"/>
                        <a:pt x="294261" y="-52497"/>
                        <a:pt x="241875" y="69847"/>
                      </a:cubicBezTo>
                      <a:cubicBezTo>
                        <a:pt x="65911" y="124969"/>
                        <a:pt x="-38862" y="213701"/>
                        <a:pt x="13524" y="349489"/>
                      </a:cubicBezTo>
                      <a:cubicBezTo>
                        <a:pt x="83373" y="525609"/>
                        <a:pt x="419182" y="728618"/>
                        <a:pt x="497090" y="458388"/>
                      </a:cubicBezTo>
                      <a:cubicBezTo>
                        <a:pt x="509179" y="418055"/>
                        <a:pt x="482314" y="385788"/>
                        <a:pt x="515895" y="35352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4" name="Google Shape;164;p8"/>
                <p:cNvSpPr/>
                <p:nvPr/>
              </p:nvSpPr>
              <p:spPr>
                <a:xfrm>
                  <a:off x="7018173" y="3918493"/>
                  <a:ext cx="450521" cy="4681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521" h="468166" extrusionOk="0">
                      <a:moveTo>
                        <a:pt x="134230" y="450483"/>
                      </a:moveTo>
                      <a:cubicBezTo>
                        <a:pt x="221541" y="486782"/>
                        <a:pt x="343775" y="466616"/>
                        <a:pt x="409594" y="395361"/>
                      </a:cubicBezTo>
                      <a:cubicBezTo>
                        <a:pt x="506307" y="291839"/>
                        <a:pt x="418996" y="48498"/>
                        <a:pt x="279300" y="8165"/>
                      </a:cubicBezTo>
                      <a:cubicBezTo>
                        <a:pt x="181244" y="-20069"/>
                        <a:pt x="80501" y="28331"/>
                        <a:pt x="50950" y="100930"/>
                      </a:cubicBezTo>
                      <a:cubicBezTo>
                        <a:pt x="-55166" y="193696"/>
                        <a:pt x="20055" y="403427"/>
                        <a:pt x="134230" y="450483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5" name="Google Shape;165;p8"/>
                <p:cNvSpPr/>
                <p:nvPr/>
              </p:nvSpPr>
              <p:spPr>
                <a:xfrm>
                  <a:off x="6757659" y="5205962"/>
                  <a:ext cx="435900" cy="3426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5900" h="342612" extrusionOk="0">
                      <a:moveTo>
                        <a:pt x="95203" y="12694"/>
                      </a:moveTo>
                      <a:cubicBezTo>
                        <a:pt x="-43151" y="-4784"/>
                        <a:pt x="-9570" y="195536"/>
                        <a:pt x="62965" y="256036"/>
                      </a:cubicBezTo>
                      <a:cubicBezTo>
                        <a:pt x="132813" y="315191"/>
                        <a:pt x="400117" y="409301"/>
                        <a:pt x="433698" y="270825"/>
                      </a:cubicBezTo>
                      <a:cubicBezTo>
                        <a:pt x="459220" y="161926"/>
                        <a:pt x="257734" y="-54528"/>
                        <a:pt x="95203" y="1269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6" name="Google Shape;166;p8"/>
                <p:cNvSpPr/>
                <p:nvPr/>
              </p:nvSpPr>
              <p:spPr>
                <a:xfrm>
                  <a:off x="6730953" y="4336971"/>
                  <a:ext cx="250183" cy="225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183" h="225252" extrusionOk="0">
                      <a:moveTo>
                        <a:pt x="189071" y="210814"/>
                      </a:moveTo>
                      <a:cubicBezTo>
                        <a:pt x="281754" y="169137"/>
                        <a:pt x="258919" y="73682"/>
                        <a:pt x="187728" y="21249"/>
                      </a:cubicBezTo>
                      <a:lnTo>
                        <a:pt x="131312" y="2427"/>
                      </a:lnTo>
                      <a:cubicBezTo>
                        <a:pt x="-90323" y="-31184"/>
                        <a:pt x="-4355" y="296858"/>
                        <a:pt x="189071" y="210814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67" name="Google Shape;167;p8"/>
                <p:cNvSpPr/>
                <p:nvPr/>
              </p:nvSpPr>
              <p:spPr>
                <a:xfrm>
                  <a:off x="8380179" y="4687148"/>
                  <a:ext cx="313136" cy="349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3136" h="349966" extrusionOk="0">
                      <a:moveTo>
                        <a:pt x="177250" y="1802"/>
                      </a:moveTo>
                      <a:cubicBezTo>
                        <a:pt x="138296" y="-6265"/>
                        <a:pt x="126207" y="13902"/>
                        <a:pt x="100685" y="39446"/>
                      </a:cubicBezTo>
                      <a:cubicBezTo>
                        <a:pt x="65761" y="69023"/>
                        <a:pt x="21434" y="66335"/>
                        <a:pt x="5316" y="142967"/>
                      </a:cubicBezTo>
                      <a:cubicBezTo>
                        <a:pt x="-14833" y="237077"/>
                        <a:pt x="21434" y="332532"/>
                        <a:pt x="128893" y="348665"/>
                      </a:cubicBezTo>
                      <a:cubicBezTo>
                        <a:pt x="224263" y="363454"/>
                        <a:pt x="318290" y="249177"/>
                        <a:pt x="312916" y="157756"/>
                      </a:cubicBezTo>
                      <a:cubicBezTo>
                        <a:pt x="310230" y="98601"/>
                        <a:pt x="236352" y="15246"/>
                        <a:pt x="177250" y="1802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grpSp>
          <p:nvGrpSpPr>
            <p:cNvPr id="168" name="Google Shape;168;p8"/>
            <p:cNvGrpSpPr/>
            <p:nvPr/>
          </p:nvGrpSpPr>
          <p:grpSpPr>
            <a:xfrm>
              <a:off x="-772246" y="-1247722"/>
              <a:ext cx="7567197" cy="7552605"/>
              <a:chOff x="-772246" y="-1247722"/>
              <a:chExt cx="7567197" cy="7552605"/>
            </a:xfrm>
          </p:grpSpPr>
          <p:grpSp>
            <p:nvGrpSpPr>
              <p:cNvPr id="169" name="Google Shape;169;p8"/>
              <p:cNvGrpSpPr/>
              <p:nvPr/>
            </p:nvGrpSpPr>
            <p:grpSpPr>
              <a:xfrm rot="10800000" flipH="1">
                <a:off x="-772246" y="-1247722"/>
                <a:ext cx="1939837" cy="1944233"/>
                <a:chOff x="1770054" y="3336266"/>
                <a:chExt cx="1939837" cy="1944233"/>
              </a:xfrm>
            </p:grpSpPr>
            <p:sp>
              <p:nvSpPr>
                <p:cNvPr id="170" name="Google Shape;170;p8"/>
                <p:cNvSpPr/>
                <p:nvPr/>
              </p:nvSpPr>
              <p:spPr>
                <a:xfrm>
                  <a:off x="2019896" y="3462828"/>
                  <a:ext cx="1278761" cy="150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761" h="1505763" extrusionOk="0">
                      <a:moveTo>
                        <a:pt x="789823" y="613061"/>
                      </a:moveTo>
                      <a:cubicBezTo>
                        <a:pt x="953698" y="426185"/>
                        <a:pt x="1117573" y="239309"/>
                        <a:pt x="1278761" y="51088"/>
                      </a:cubicBezTo>
                      <a:cubicBezTo>
                        <a:pt x="1251897" y="32266"/>
                        <a:pt x="1225032" y="14788"/>
                        <a:pt x="1196824" y="0"/>
                      </a:cubicBezTo>
                      <a:cubicBezTo>
                        <a:pt x="1194137" y="2689"/>
                        <a:pt x="1191451" y="6722"/>
                        <a:pt x="1188765" y="9411"/>
                      </a:cubicBezTo>
                      <a:cubicBezTo>
                        <a:pt x="964444" y="286364"/>
                        <a:pt x="738780" y="564661"/>
                        <a:pt x="517146" y="845648"/>
                      </a:cubicBezTo>
                      <a:cubicBezTo>
                        <a:pt x="345212" y="1063445"/>
                        <a:pt x="171934" y="1281243"/>
                        <a:pt x="0" y="1499042"/>
                      </a:cubicBezTo>
                      <a:cubicBezTo>
                        <a:pt x="1343" y="1501730"/>
                        <a:pt x="4030" y="1503075"/>
                        <a:pt x="5373" y="1505764"/>
                      </a:cubicBezTo>
                      <a:cubicBezTo>
                        <a:pt x="261931" y="1203267"/>
                        <a:pt x="529235" y="911525"/>
                        <a:pt x="789823" y="613061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1" name="Google Shape;171;p8"/>
                <p:cNvSpPr/>
                <p:nvPr/>
              </p:nvSpPr>
              <p:spPr>
                <a:xfrm>
                  <a:off x="1802292" y="3336266"/>
                  <a:ext cx="1027576" cy="1254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576" h="1254540" extrusionOk="0">
                      <a:moveTo>
                        <a:pt x="25522" y="1230341"/>
                      </a:moveTo>
                      <a:cubicBezTo>
                        <a:pt x="323720" y="863311"/>
                        <a:pt x="623262" y="497626"/>
                        <a:pt x="922804" y="131940"/>
                      </a:cubicBezTo>
                      <a:cubicBezTo>
                        <a:pt x="957728" y="88918"/>
                        <a:pt x="992652" y="45897"/>
                        <a:pt x="1027576" y="4219"/>
                      </a:cubicBezTo>
                      <a:cubicBezTo>
                        <a:pt x="973847" y="-1158"/>
                        <a:pt x="920117" y="-1158"/>
                        <a:pt x="866388" y="2875"/>
                      </a:cubicBezTo>
                      <a:cubicBezTo>
                        <a:pt x="757585" y="164207"/>
                        <a:pt x="646097" y="322849"/>
                        <a:pt x="534608" y="482837"/>
                      </a:cubicBezTo>
                      <a:cubicBezTo>
                        <a:pt x="358644" y="734246"/>
                        <a:pt x="182680" y="985655"/>
                        <a:pt x="0" y="1233030"/>
                      </a:cubicBezTo>
                      <a:cubicBezTo>
                        <a:pt x="1343" y="1239752"/>
                        <a:pt x="4030" y="1247819"/>
                        <a:pt x="6716" y="1254541"/>
                      </a:cubicBezTo>
                      <a:cubicBezTo>
                        <a:pt x="13432" y="1245130"/>
                        <a:pt x="18805" y="1238408"/>
                        <a:pt x="25522" y="1230341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2" name="Google Shape;172;p8"/>
                <p:cNvSpPr/>
                <p:nvPr/>
              </p:nvSpPr>
              <p:spPr>
                <a:xfrm>
                  <a:off x="1877513" y="3355274"/>
                  <a:ext cx="1250553" cy="14573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0553" h="1457363" extrusionOk="0">
                      <a:moveTo>
                        <a:pt x="1250553" y="61844"/>
                      </a:moveTo>
                      <a:cubicBezTo>
                        <a:pt x="1187421" y="33611"/>
                        <a:pt x="1120259" y="13444"/>
                        <a:pt x="1053098" y="0"/>
                      </a:cubicBezTo>
                      <a:cubicBezTo>
                        <a:pt x="796539" y="337452"/>
                        <a:pt x="537295" y="673560"/>
                        <a:pt x="286109" y="1015046"/>
                      </a:cubicBezTo>
                      <a:cubicBezTo>
                        <a:pt x="190740" y="1144111"/>
                        <a:pt x="92683" y="1271832"/>
                        <a:pt x="0" y="1403587"/>
                      </a:cubicBezTo>
                      <a:cubicBezTo>
                        <a:pt x="9403" y="1422409"/>
                        <a:pt x="20149" y="1439886"/>
                        <a:pt x="30894" y="1457364"/>
                      </a:cubicBezTo>
                      <a:cubicBezTo>
                        <a:pt x="55073" y="1429131"/>
                        <a:pt x="77908" y="1400898"/>
                        <a:pt x="102086" y="1372665"/>
                      </a:cubicBezTo>
                      <a:cubicBezTo>
                        <a:pt x="427149" y="982779"/>
                        <a:pt x="765645" y="606338"/>
                        <a:pt x="1102797" y="227209"/>
                      </a:cubicBezTo>
                      <a:cubicBezTo>
                        <a:pt x="1151154" y="172087"/>
                        <a:pt x="1200854" y="116965"/>
                        <a:pt x="1250553" y="61844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3" name="Google Shape;173;p8"/>
                <p:cNvSpPr/>
                <p:nvPr/>
              </p:nvSpPr>
              <p:spPr>
                <a:xfrm>
                  <a:off x="1770054" y="3383507"/>
                  <a:ext cx="667588" cy="8631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588" h="863125" extrusionOk="0">
                      <a:moveTo>
                        <a:pt x="373420" y="383163"/>
                      </a:moveTo>
                      <a:cubicBezTo>
                        <a:pt x="472819" y="256787"/>
                        <a:pt x="569532" y="129066"/>
                        <a:pt x="667589" y="0"/>
                      </a:cubicBezTo>
                      <a:cubicBezTo>
                        <a:pt x="533265" y="43022"/>
                        <a:pt x="407001" y="116966"/>
                        <a:pt x="298199" y="220487"/>
                      </a:cubicBezTo>
                      <a:cubicBezTo>
                        <a:pt x="288796" y="237965"/>
                        <a:pt x="280736" y="258131"/>
                        <a:pt x="269991" y="275609"/>
                      </a:cubicBezTo>
                      <a:cubicBezTo>
                        <a:pt x="256558" y="297120"/>
                        <a:pt x="240439" y="317286"/>
                        <a:pt x="227007" y="337452"/>
                      </a:cubicBezTo>
                      <a:cubicBezTo>
                        <a:pt x="182680" y="399296"/>
                        <a:pt x="145070" y="463829"/>
                        <a:pt x="107459" y="529706"/>
                      </a:cubicBezTo>
                      <a:cubicBezTo>
                        <a:pt x="89997" y="560628"/>
                        <a:pt x="69848" y="586172"/>
                        <a:pt x="48357" y="613061"/>
                      </a:cubicBezTo>
                      <a:cubicBezTo>
                        <a:pt x="21492" y="693727"/>
                        <a:pt x="4030" y="778426"/>
                        <a:pt x="0" y="863125"/>
                      </a:cubicBezTo>
                      <a:cubicBezTo>
                        <a:pt x="124921" y="703138"/>
                        <a:pt x="248499" y="543151"/>
                        <a:pt x="373420" y="383163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4" name="Google Shape;174;p8"/>
                <p:cNvSpPr/>
                <p:nvPr/>
              </p:nvSpPr>
              <p:spPr>
                <a:xfrm>
                  <a:off x="3035383" y="4432163"/>
                  <a:ext cx="667588" cy="802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588" h="802625" extrusionOk="0">
                      <a:moveTo>
                        <a:pt x="591024" y="274264"/>
                      </a:moveTo>
                      <a:cubicBezTo>
                        <a:pt x="629978" y="186876"/>
                        <a:pt x="655499" y="94110"/>
                        <a:pt x="667589" y="0"/>
                      </a:cubicBezTo>
                      <a:cubicBezTo>
                        <a:pt x="642067" y="32267"/>
                        <a:pt x="615202" y="63188"/>
                        <a:pt x="589681" y="95455"/>
                      </a:cubicBezTo>
                      <a:cubicBezTo>
                        <a:pt x="398941" y="326697"/>
                        <a:pt x="210888" y="560628"/>
                        <a:pt x="13432" y="786493"/>
                      </a:cubicBezTo>
                      <a:cubicBezTo>
                        <a:pt x="9403" y="791871"/>
                        <a:pt x="4030" y="797248"/>
                        <a:pt x="0" y="802626"/>
                      </a:cubicBezTo>
                      <a:cubicBezTo>
                        <a:pt x="38954" y="790526"/>
                        <a:pt x="77908" y="775737"/>
                        <a:pt x="114175" y="758260"/>
                      </a:cubicBezTo>
                      <a:cubicBezTo>
                        <a:pt x="271334" y="595584"/>
                        <a:pt x="431179" y="435596"/>
                        <a:pt x="591024" y="274264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5" name="Google Shape;175;p8"/>
                <p:cNvSpPr/>
                <p:nvPr/>
              </p:nvSpPr>
              <p:spPr>
                <a:xfrm>
                  <a:off x="2206606" y="3565005"/>
                  <a:ext cx="1316371" cy="15891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6371" h="1589118" extrusionOk="0">
                      <a:moveTo>
                        <a:pt x="1316372" y="168054"/>
                      </a:moveTo>
                      <a:cubicBezTo>
                        <a:pt x="1288164" y="129066"/>
                        <a:pt x="1255926" y="91422"/>
                        <a:pt x="1219659" y="56466"/>
                      </a:cubicBezTo>
                      <a:cubicBezTo>
                        <a:pt x="1199510" y="36300"/>
                        <a:pt x="1179362" y="18822"/>
                        <a:pt x="1159213" y="0"/>
                      </a:cubicBezTo>
                      <a:cubicBezTo>
                        <a:pt x="924147" y="329386"/>
                        <a:pt x="682364" y="653394"/>
                        <a:pt x="437895" y="976058"/>
                      </a:cubicBezTo>
                      <a:cubicBezTo>
                        <a:pt x="291482" y="1169656"/>
                        <a:pt x="145070" y="1363254"/>
                        <a:pt x="0" y="1556852"/>
                      </a:cubicBezTo>
                      <a:cubicBezTo>
                        <a:pt x="17462" y="1567608"/>
                        <a:pt x="34924" y="1578363"/>
                        <a:pt x="52386" y="1589119"/>
                      </a:cubicBezTo>
                      <a:cubicBezTo>
                        <a:pt x="222977" y="1394176"/>
                        <a:pt x="390882" y="1196544"/>
                        <a:pt x="562816" y="1002946"/>
                      </a:cubicBezTo>
                      <a:cubicBezTo>
                        <a:pt x="811315" y="721960"/>
                        <a:pt x="1062500" y="445007"/>
                        <a:pt x="1316372" y="168054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6" name="Google Shape;176;p8"/>
                <p:cNvSpPr/>
                <p:nvPr/>
              </p:nvSpPr>
              <p:spPr>
                <a:xfrm>
                  <a:off x="2754646" y="4141766"/>
                  <a:ext cx="955245" cy="11387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5245" h="1138733" extrusionOk="0">
                      <a:moveTo>
                        <a:pt x="0" y="1138734"/>
                      </a:moveTo>
                      <a:cubicBezTo>
                        <a:pt x="18805" y="1138734"/>
                        <a:pt x="37611" y="1137389"/>
                        <a:pt x="56416" y="1136045"/>
                      </a:cubicBezTo>
                      <a:cubicBezTo>
                        <a:pt x="255215" y="924969"/>
                        <a:pt x="455357" y="715238"/>
                        <a:pt x="652813" y="502817"/>
                      </a:cubicBezTo>
                      <a:cubicBezTo>
                        <a:pt x="753556" y="395263"/>
                        <a:pt x="854299" y="287708"/>
                        <a:pt x="955041" y="180154"/>
                      </a:cubicBezTo>
                      <a:cubicBezTo>
                        <a:pt x="956384" y="119654"/>
                        <a:pt x="951012" y="60499"/>
                        <a:pt x="941609" y="0"/>
                      </a:cubicBezTo>
                      <a:cubicBezTo>
                        <a:pt x="719975" y="275609"/>
                        <a:pt x="496998" y="548528"/>
                        <a:pt x="268647" y="818759"/>
                      </a:cubicBezTo>
                      <a:cubicBezTo>
                        <a:pt x="178651" y="926313"/>
                        <a:pt x="89997" y="1032523"/>
                        <a:pt x="0" y="1138734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77" name="Google Shape;177;p8"/>
                <p:cNvSpPr/>
                <p:nvPr/>
              </p:nvSpPr>
              <p:spPr>
                <a:xfrm>
                  <a:off x="2508834" y="3868847"/>
                  <a:ext cx="1167272" cy="13928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7272" h="1392831" extrusionOk="0">
                      <a:moveTo>
                        <a:pt x="663559" y="716582"/>
                      </a:moveTo>
                      <a:cubicBezTo>
                        <a:pt x="832807" y="539117"/>
                        <a:pt x="1000711" y="358963"/>
                        <a:pt x="1167273" y="178810"/>
                      </a:cubicBezTo>
                      <a:cubicBezTo>
                        <a:pt x="1149811" y="116966"/>
                        <a:pt x="1126976" y="57811"/>
                        <a:pt x="1097424" y="0"/>
                      </a:cubicBezTo>
                      <a:cubicBezTo>
                        <a:pt x="936236" y="205698"/>
                        <a:pt x="772361" y="410052"/>
                        <a:pt x="609829" y="614406"/>
                      </a:cubicBezTo>
                      <a:cubicBezTo>
                        <a:pt x="405657" y="869848"/>
                        <a:pt x="202829" y="1127978"/>
                        <a:pt x="0" y="1384765"/>
                      </a:cubicBezTo>
                      <a:cubicBezTo>
                        <a:pt x="13432" y="1387454"/>
                        <a:pt x="25522" y="1390142"/>
                        <a:pt x="38954" y="1392831"/>
                      </a:cubicBezTo>
                      <a:cubicBezTo>
                        <a:pt x="243126" y="1164278"/>
                        <a:pt x="451328" y="939758"/>
                        <a:pt x="663559" y="716582"/>
                      </a:cubicBezTo>
                      <a:close/>
                    </a:path>
                  </a:pathLst>
                </a:custGeom>
                <a:solidFill>
                  <a:schemeClr val="dk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178" name="Google Shape;178;p8"/>
              <p:cNvGrpSpPr/>
              <p:nvPr/>
            </p:nvGrpSpPr>
            <p:grpSpPr>
              <a:xfrm rot="10800000" flipH="1">
                <a:off x="5079974" y="4586700"/>
                <a:ext cx="1714977" cy="1718183"/>
                <a:chOff x="6050949" y="622044"/>
                <a:chExt cx="1714977" cy="1718183"/>
              </a:xfrm>
            </p:grpSpPr>
            <p:sp>
              <p:nvSpPr>
                <p:cNvPr id="179" name="Google Shape;179;p8"/>
                <p:cNvSpPr/>
                <p:nvPr/>
              </p:nvSpPr>
              <p:spPr>
                <a:xfrm>
                  <a:off x="6503620" y="623388"/>
                  <a:ext cx="298198" cy="2018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8198" h="201842" extrusionOk="0">
                      <a:moveTo>
                        <a:pt x="213575" y="120999"/>
                      </a:moveTo>
                      <a:cubicBezTo>
                        <a:pt x="243126" y="82010"/>
                        <a:pt x="269991" y="40333"/>
                        <a:pt x="298199" y="0"/>
                      </a:cubicBezTo>
                      <a:cubicBezTo>
                        <a:pt x="192083" y="13444"/>
                        <a:pt x="91340" y="45711"/>
                        <a:pt x="0" y="92766"/>
                      </a:cubicBezTo>
                      <a:cubicBezTo>
                        <a:pt x="14776" y="122343"/>
                        <a:pt x="30895" y="150576"/>
                        <a:pt x="53729" y="173432"/>
                      </a:cubicBezTo>
                      <a:cubicBezTo>
                        <a:pt x="118205" y="239309"/>
                        <a:pt x="171935" y="177465"/>
                        <a:pt x="213575" y="120999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0" name="Google Shape;180;p8"/>
                <p:cNvSpPr/>
                <p:nvPr/>
              </p:nvSpPr>
              <p:spPr>
                <a:xfrm>
                  <a:off x="6221540" y="622044"/>
                  <a:ext cx="993995" cy="555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3995" h="555282" extrusionOk="0">
                      <a:moveTo>
                        <a:pt x="0" y="332075"/>
                      </a:moveTo>
                      <a:cubicBezTo>
                        <a:pt x="9403" y="419463"/>
                        <a:pt x="88654" y="496095"/>
                        <a:pt x="173278" y="525673"/>
                      </a:cubicBezTo>
                      <a:cubicBezTo>
                        <a:pt x="303572" y="572728"/>
                        <a:pt x="467447" y="559284"/>
                        <a:pt x="596397" y="516262"/>
                      </a:cubicBezTo>
                      <a:cubicBezTo>
                        <a:pt x="741467" y="467862"/>
                        <a:pt x="801912" y="357619"/>
                        <a:pt x="869074" y="229898"/>
                      </a:cubicBezTo>
                      <a:cubicBezTo>
                        <a:pt x="903999" y="164021"/>
                        <a:pt x="944296" y="103521"/>
                        <a:pt x="993995" y="52433"/>
                      </a:cubicBezTo>
                      <a:cubicBezTo>
                        <a:pt x="925490" y="25544"/>
                        <a:pt x="852955" y="8067"/>
                        <a:pt x="776391" y="0"/>
                      </a:cubicBezTo>
                      <a:cubicBezTo>
                        <a:pt x="728034" y="71255"/>
                        <a:pt x="681021" y="145199"/>
                        <a:pt x="629978" y="215109"/>
                      </a:cubicBezTo>
                      <a:cubicBezTo>
                        <a:pt x="564159" y="305186"/>
                        <a:pt x="470133" y="395263"/>
                        <a:pt x="347899" y="367030"/>
                      </a:cubicBezTo>
                      <a:cubicBezTo>
                        <a:pt x="244469" y="344175"/>
                        <a:pt x="193426" y="264853"/>
                        <a:pt x="147756" y="182843"/>
                      </a:cubicBezTo>
                      <a:cubicBezTo>
                        <a:pt x="92684" y="225864"/>
                        <a:pt x="42984" y="276953"/>
                        <a:pt x="0" y="332075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1" name="Google Shape;181;p8"/>
                <p:cNvSpPr/>
                <p:nvPr/>
              </p:nvSpPr>
              <p:spPr>
                <a:xfrm>
                  <a:off x="6057665" y="1383866"/>
                  <a:ext cx="1708261" cy="757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61" h="757632" extrusionOk="0">
                      <a:moveTo>
                        <a:pt x="1707254" y="47526"/>
                      </a:moveTo>
                      <a:cubicBezTo>
                        <a:pt x="1687105" y="44837"/>
                        <a:pt x="1666957" y="40804"/>
                        <a:pt x="1646808" y="38115"/>
                      </a:cubicBezTo>
                      <a:cubicBezTo>
                        <a:pt x="1515171" y="15260"/>
                        <a:pt x="1341893" y="-43895"/>
                        <a:pt x="1229062" y="56937"/>
                      </a:cubicBezTo>
                      <a:cubicBezTo>
                        <a:pt x="1135035" y="141636"/>
                        <a:pt x="1096081" y="272046"/>
                        <a:pt x="995338" y="354056"/>
                      </a:cubicBezTo>
                      <a:cubicBezTo>
                        <a:pt x="887880" y="441445"/>
                        <a:pt x="748183" y="477744"/>
                        <a:pt x="611173" y="472366"/>
                      </a:cubicBezTo>
                      <a:cubicBezTo>
                        <a:pt x="393568" y="464300"/>
                        <a:pt x="169248" y="391701"/>
                        <a:pt x="0" y="253224"/>
                      </a:cubicBezTo>
                      <a:cubicBezTo>
                        <a:pt x="14776" y="331201"/>
                        <a:pt x="38954" y="406489"/>
                        <a:pt x="73878" y="476400"/>
                      </a:cubicBezTo>
                      <a:cubicBezTo>
                        <a:pt x="194769" y="515388"/>
                        <a:pt x="307601" y="585299"/>
                        <a:pt x="419090" y="648487"/>
                      </a:cubicBezTo>
                      <a:cubicBezTo>
                        <a:pt x="510430" y="699576"/>
                        <a:pt x="608486" y="753353"/>
                        <a:pt x="714602" y="757386"/>
                      </a:cubicBezTo>
                      <a:cubicBezTo>
                        <a:pt x="850269" y="762764"/>
                        <a:pt x="964444" y="679409"/>
                        <a:pt x="1055784" y="586643"/>
                      </a:cubicBezTo>
                      <a:cubicBezTo>
                        <a:pt x="1212943" y="428000"/>
                        <a:pt x="1418458" y="94581"/>
                        <a:pt x="1687105" y="196758"/>
                      </a:cubicBezTo>
                      <a:cubicBezTo>
                        <a:pt x="1691135" y="198102"/>
                        <a:pt x="1696508" y="200791"/>
                        <a:pt x="1700538" y="202136"/>
                      </a:cubicBezTo>
                      <a:cubicBezTo>
                        <a:pt x="1704567" y="167180"/>
                        <a:pt x="1707254" y="132225"/>
                        <a:pt x="1707254" y="95926"/>
                      </a:cubicBezTo>
                      <a:cubicBezTo>
                        <a:pt x="1708597" y="78448"/>
                        <a:pt x="1708597" y="63659"/>
                        <a:pt x="1707254" y="47526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2" name="Google Shape;182;p8"/>
                <p:cNvSpPr/>
                <p:nvPr/>
              </p:nvSpPr>
              <p:spPr>
                <a:xfrm>
                  <a:off x="6050949" y="756487"/>
                  <a:ext cx="1688448" cy="9357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448" h="935722" extrusionOk="0">
                      <a:moveTo>
                        <a:pt x="247155" y="840270"/>
                      </a:moveTo>
                      <a:cubicBezTo>
                        <a:pt x="381479" y="899425"/>
                        <a:pt x="544011" y="947824"/>
                        <a:pt x="691767" y="933036"/>
                      </a:cubicBezTo>
                      <a:cubicBezTo>
                        <a:pt x="838180" y="919591"/>
                        <a:pt x="925490" y="841614"/>
                        <a:pt x="1002055" y="723304"/>
                      </a:cubicBezTo>
                      <a:cubicBezTo>
                        <a:pt x="1065187" y="623816"/>
                        <a:pt x="1133692" y="531051"/>
                        <a:pt x="1247867" y="488029"/>
                      </a:cubicBezTo>
                      <a:cubicBezTo>
                        <a:pt x="1374131" y="440974"/>
                        <a:pt x="1513828" y="470551"/>
                        <a:pt x="1641435" y="496095"/>
                      </a:cubicBezTo>
                      <a:cubicBezTo>
                        <a:pt x="1656211" y="498784"/>
                        <a:pt x="1672330" y="501473"/>
                        <a:pt x="1688448" y="504162"/>
                      </a:cubicBezTo>
                      <a:cubicBezTo>
                        <a:pt x="1633376" y="294431"/>
                        <a:pt x="1501738" y="115621"/>
                        <a:pt x="1324431" y="0"/>
                      </a:cubicBezTo>
                      <a:cubicBezTo>
                        <a:pt x="1288164" y="24200"/>
                        <a:pt x="1255926" y="53777"/>
                        <a:pt x="1230405" y="94110"/>
                      </a:cubicBezTo>
                      <a:cubicBezTo>
                        <a:pt x="1160556" y="198976"/>
                        <a:pt x="1121603" y="321319"/>
                        <a:pt x="1031606" y="411396"/>
                      </a:cubicBezTo>
                      <a:cubicBezTo>
                        <a:pt x="858328" y="583483"/>
                        <a:pt x="539981" y="623816"/>
                        <a:pt x="314317" y="553906"/>
                      </a:cubicBezTo>
                      <a:cubicBezTo>
                        <a:pt x="214918" y="522984"/>
                        <a:pt x="126264" y="455762"/>
                        <a:pt x="69848" y="372408"/>
                      </a:cubicBezTo>
                      <a:cubicBezTo>
                        <a:pt x="33581" y="453073"/>
                        <a:pt x="9402" y="540462"/>
                        <a:pt x="0" y="631883"/>
                      </a:cubicBezTo>
                      <a:cubicBezTo>
                        <a:pt x="61789" y="720615"/>
                        <a:pt x="141040" y="793215"/>
                        <a:pt x="247155" y="840270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183" name="Google Shape;183;p8"/>
                <p:cNvSpPr/>
                <p:nvPr/>
              </p:nvSpPr>
              <p:spPr>
                <a:xfrm>
                  <a:off x="6381386" y="1731225"/>
                  <a:ext cx="1340550" cy="609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0550" h="609002" extrusionOk="0">
                      <a:moveTo>
                        <a:pt x="1000711" y="186851"/>
                      </a:moveTo>
                      <a:cubicBezTo>
                        <a:pt x="820717" y="385827"/>
                        <a:pt x="625948" y="610347"/>
                        <a:pt x="329093" y="565981"/>
                      </a:cubicBezTo>
                      <a:cubicBezTo>
                        <a:pt x="208202" y="547159"/>
                        <a:pt x="103429" y="490692"/>
                        <a:pt x="0" y="430193"/>
                      </a:cubicBezTo>
                      <a:cubicBezTo>
                        <a:pt x="145069" y="541781"/>
                        <a:pt x="326406" y="609002"/>
                        <a:pt x="523862" y="609002"/>
                      </a:cubicBezTo>
                      <a:cubicBezTo>
                        <a:pt x="903998" y="609002"/>
                        <a:pt x="1226375" y="362971"/>
                        <a:pt x="1340550" y="20141"/>
                      </a:cubicBezTo>
                      <a:cubicBezTo>
                        <a:pt x="1208913" y="-53803"/>
                        <a:pt x="1085335" y="92741"/>
                        <a:pt x="1000711" y="18685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</p:grpSp>
      <p:grpSp>
        <p:nvGrpSpPr>
          <p:cNvPr id="184" name="Google Shape;184;p8"/>
          <p:cNvGrpSpPr/>
          <p:nvPr/>
        </p:nvGrpSpPr>
        <p:grpSpPr>
          <a:xfrm rot="10800000" flipH="1">
            <a:off x="3452484" y="-1837275"/>
            <a:ext cx="7089161" cy="10539219"/>
            <a:chOff x="2589362" y="-1454156"/>
            <a:chExt cx="5316871" cy="7904414"/>
          </a:xfrm>
        </p:grpSpPr>
        <p:sp>
          <p:nvSpPr>
            <p:cNvPr id="185" name="Google Shape;185;p8"/>
            <p:cNvSpPr/>
            <p:nvPr/>
          </p:nvSpPr>
          <p:spPr>
            <a:xfrm>
              <a:off x="4873194" y="4417072"/>
              <a:ext cx="3033038" cy="2033186"/>
            </a:xfrm>
            <a:custGeom>
              <a:avLst/>
              <a:gdLst/>
              <a:ahLst/>
              <a:cxnLst/>
              <a:rect l="l" t="t" r="r" b="b"/>
              <a:pathLst>
                <a:path w="3033038" h="2033186" extrusionOk="0">
                  <a:moveTo>
                    <a:pt x="2145958" y="2033187"/>
                  </a:moveTo>
                  <a:cubicBezTo>
                    <a:pt x="2068050" y="2033187"/>
                    <a:pt x="2008947" y="2010332"/>
                    <a:pt x="1971337" y="1965965"/>
                  </a:cubicBezTo>
                  <a:cubicBezTo>
                    <a:pt x="1918951" y="1904122"/>
                    <a:pt x="1924324" y="1820767"/>
                    <a:pt x="1929696" y="1741446"/>
                  </a:cubicBezTo>
                  <a:cubicBezTo>
                    <a:pt x="1935069" y="1666157"/>
                    <a:pt x="1940443" y="1594903"/>
                    <a:pt x="1898802" y="1545158"/>
                  </a:cubicBezTo>
                  <a:cubicBezTo>
                    <a:pt x="1884027" y="1527681"/>
                    <a:pt x="1863878" y="1514237"/>
                    <a:pt x="1834327" y="1499448"/>
                  </a:cubicBezTo>
                  <a:cubicBezTo>
                    <a:pt x="1640901" y="1403993"/>
                    <a:pt x="1400461" y="1460459"/>
                    <a:pt x="1237930" y="1511548"/>
                  </a:cubicBezTo>
                  <a:cubicBezTo>
                    <a:pt x="1205692" y="1520959"/>
                    <a:pt x="1174798" y="1531714"/>
                    <a:pt x="1142560" y="1542469"/>
                  </a:cubicBezTo>
                  <a:cubicBezTo>
                    <a:pt x="974655" y="1597591"/>
                    <a:pt x="800034" y="1655402"/>
                    <a:pt x="620041" y="1640613"/>
                  </a:cubicBezTo>
                  <a:cubicBezTo>
                    <a:pt x="296321" y="1613724"/>
                    <a:pt x="19614" y="1328705"/>
                    <a:pt x="809" y="1004697"/>
                  </a:cubicBezTo>
                  <a:cubicBezTo>
                    <a:pt x="-4564" y="898487"/>
                    <a:pt x="16927" y="804376"/>
                    <a:pt x="62597" y="733122"/>
                  </a:cubicBezTo>
                  <a:cubicBezTo>
                    <a:pt x="119014" y="645734"/>
                    <a:pt x="215727" y="594645"/>
                    <a:pt x="308410" y="602712"/>
                  </a:cubicBezTo>
                  <a:cubicBezTo>
                    <a:pt x="370199" y="608089"/>
                    <a:pt x="425271" y="637667"/>
                    <a:pt x="474971" y="664556"/>
                  </a:cubicBezTo>
                  <a:lnTo>
                    <a:pt x="687203" y="778832"/>
                  </a:lnTo>
                  <a:cubicBezTo>
                    <a:pt x="763767" y="819165"/>
                    <a:pt x="841675" y="854120"/>
                    <a:pt x="907493" y="823198"/>
                  </a:cubicBezTo>
                  <a:cubicBezTo>
                    <a:pt x="1002863" y="777488"/>
                    <a:pt x="990774" y="632289"/>
                    <a:pt x="953164" y="544901"/>
                  </a:cubicBezTo>
                  <a:cubicBezTo>
                    <a:pt x="942417" y="519357"/>
                    <a:pt x="928985" y="495157"/>
                    <a:pt x="916896" y="469613"/>
                  </a:cubicBezTo>
                  <a:cubicBezTo>
                    <a:pt x="876599" y="388947"/>
                    <a:pt x="834959" y="305592"/>
                    <a:pt x="845705" y="212826"/>
                  </a:cubicBezTo>
                  <a:cubicBezTo>
                    <a:pt x="856450" y="118716"/>
                    <a:pt x="927642" y="34017"/>
                    <a:pt x="1018982" y="8473"/>
                  </a:cubicBezTo>
                  <a:cubicBezTo>
                    <a:pt x="1110322" y="-17072"/>
                    <a:pt x="1215095" y="16539"/>
                    <a:pt x="1274197" y="90483"/>
                  </a:cubicBezTo>
                  <a:cubicBezTo>
                    <a:pt x="1338672" y="171149"/>
                    <a:pt x="1342702" y="281392"/>
                    <a:pt x="1341359" y="387602"/>
                  </a:cubicBezTo>
                  <a:cubicBezTo>
                    <a:pt x="1340016" y="480368"/>
                    <a:pt x="1338672" y="585234"/>
                    <a:pt x="1393745" y="661867"/>
                  </a:cubicBezTo>
                  <a:cubicBezTo>
                    <a:pt x="1421953" y="702199"/>
                    <a:pt x="1478369" y="729088"/>
                    <a:pt x="1529412" y="726399"/>
                  </a:cubicBezTo>
                  <a:cubicBezTo>
                    <a:pt x="1565679" y="725055"/>
                    <a:pt x="1593887" y="710266"/>
                    <a:pt x="1611350" y="683377"/>
                  </a:cubicBezTo>
                  <a:cubicBezTo>
                    <a:pt x="1644931" y="629600"/>
                    <a:pt x="1619409" y="557001"/>
                    <a:pt x="1596574" y="491124"/>
                  </a:cubicBezTo>
                  <a:lnTo>
                    <a:pt x="1595231" y="485746"/>
                  </a:lnTo>
                  <a:cubicBezTo>
                    <a:pt x="1573739" y="425247"/>
                    <a:pt x="1549561" y="315003"/>
                    <a:pt x="1623439" y="257193"/>
                  </a:cubicBezTo>
                  <a:cubicBezTo>
                    <a:pt x="1655676" y="231648"/>
                    <a:pt x="1695973" y="226271"/>
                    <a:pt x="1736270" y="241059"/>
                  </a:cubicBezTo>
                  <a:cubicBezTo>
                    <a:pt x="1799403" y="263915"/>
                    <a:pt x="1857162" y="331137"/>
                    <a:pt x="1873281" y="402391"/>
                  </a:cubicBezTo>
                  <a:cubicBezTo>
                    <a:pt x="1881340" y="440035"/>
                    <a:pt x="1885370" y="479024"/>
                    <a:pt x="1888056" y="516668"/>
                  </a:cubicBezTo>
                  <a:cubicBezTo>
                    <a:pt x="1893429" y="581201"/>
                    <a:pt x="1897459" y="643045"/>
                    <a:pt x="1929696" y="694133"/>
                  </a:cubicBezTo>
                  <a:cubicBezTo>
                    <a:pt x="1940443" y="710266"/>
                    <a:pt x="1951188" y="721022"/>
                    <a:pt x="1961934" y="725055"/>
                  </a:cubicBezTo>
                  <a:cubicBezTo>
                    <a:pt x="1986113" y="733122"/>
                    <a:pt x="2017007" y="715644"/>
                    <a:pt x="2051931" y="671278"/>
                  </a:cubicBezTo>
                  <a:cubicBezTo>
                    <a:pt x="2069393" y="649767"/>
                    <a:pt x="2088199" y="625567"/>
                    <a:pt x="2105661" y="602712"/>
                  </a:cubicBezTo>
                  <a:cubicBezTo>
                    <a:pt x="2264162" y="399702"/>
                    <a:pt x="2442813" y="169805"/>
                    <a:pt x="2736982" y="242404"/>
                  </a:cubicBezTo>
                  <a:cubicBezTo>
                    <a:pt x="2839068" y="267948"/>
                    <a:pt x="2931751" y="340547"/>
                    <a:pt x="2985481" y="438691"/>
                  </a:cubicBezTo>
                  <a:cubicBezTo>
                    <a:pt x="3035181" y="527423"/>
                    <a:pt x="3045926" y="624223"/>
                    <a:pt x="3017718" y="711611"/>
                  </a:cubicBezTo>
                  <a:cubicBezTo>
                    <a:pt x="2992197" y="789588"/>
                    <a:pt x="2938467" y="856809"/>
                    <a:pt x="2886081" y="921342"/>
                  </a:cubicBezTo>
                  <a:cubicBezTo>
                    <a:pt x="2817576" y="1007386"/>
                    <a:pt x="2753101" y="1086707"/>
                    <a:pt x="2755787" y="1187539"/>
                  </a:cubicBezTo>
                  <a:cubicBezTo>
                    <a:pt x="2758474" y="1248039"/>
                    <a:pt x="2786682" y="1305850"/>
                    <a:pt x="2814889" y="1362316"/>
                  </a:cubicBezTo>
                  <a:cubicBezTo>
                    <a:pt x="2849814" y="1434915"/>
                    <a:pt x="2887425" y="1510203"/>
                    <a:pt x="2873992" y="1592214"/>
                  </a:cubicBezTo>
                  <a:cubicBezTo>
                    <a:pt x="2860560" y="1671535"/>
                    <a:pt x="2801457" y="1732034"/>
                    <a:pt x="2758474" y="1772367"/>
                  </a:cubicBezTo>
                  <a:cubicBezTo>
                    <a:pt x="2609374" y="1910844"/>
                    <a:pt x="2415948" y="2002265"/>
                    <a:pt x="2214463" y="2029154"/>
                  </a:cubicBezTo>
                  <a:cubicBezTo>
                    <a:pt x="2191628" y="2030498"/>
                    <a:pt x="2168793" y="2033187"/>
                    <a:pt x="2145958" y="2033187"/>
                  </a:cubicBezTo>
                  <a:close/>
                  <a:moveTo>
                    <a:pt x="1596574" y="1406682"/>
                  </a:moveTo>
                  <a:cubicBezTo>
                    <a:pt x="1718809" y="1406682"/>
                    <a:pt x="1796716" y="1434915"/>
                    <a:pt x="1853132" y="1463148"/>
                  </a:cubicBezTo>
                  <a:cubicBezTo>
                    <a:pt x="1874624" y="1473904"/>
                    <a:pt x="1906862" y="1491381"/>
                    <a:pt x="1929696" y="1519614"/>
                  </a:cubicBezTo>
                  <a:cubicBezTo>
                    <a:pt x="1982083" y="1581458"/>
                    <a:pt x="1976710" y="1664813"/>
                    <a:pt x="1969994" y="1744134"/>
                  </a:cubicBezTo>
                  <a:cubicBezTo>
                    <a:pt x="1964621" y="1819422"/>
                    <a:pt x="1959248" y="1890678"/>
                    <a:pt x="2002231" y="1940421"/>
                  </a:cubicBezTo>
                  <a:cubicBezTo>
                    <a:pt x="2041185" y="1986132"/>
                    <a:pt x="2111033" y="2002265"/>
                    <a:pt x="2210433" y="1987476"/>
                  </a:cubicBezTo>
                  <a:cubicBezTo>
                    <a:pt x="2403859" y="1960588"/>
                    <a:pt x="2589226" y="1873200"/>
                    <a:pt x="2732952" y="1740101"/>
                  </a:cubicBezTo>
                  <a:cubicBezTo>
                    <a:pt x="2771906" y="1705146"/>
                    <a:pt x="2824292" y="1650024"/>
                    <a:pt x="2835038" y="1582802"/>
                  </a:cubicBezTo>
                  <a:cubicBezTo>
                    <a:pt x="2847127" y="1512892"/>
                    <a:pt x="2814889" y="1447015"/>
                    <a:pt x="2779966" y="1377104"/>
                  </a:cubicBezTo>
                  <a:cubicBezTo>
                    <a:pt x="2750414" y="1316605"/>
                    <a:pt x="2719520" y="1253417"/>
                    <a:pt x="2716833" y="1186195"/>
                  </a:cubicBezTo>
                  <a:cubicBezTo>
                    <a:pt x="2712804" y="1070574"/>
                    <a:pt x="2785338" y="980497"/>
                    <a:pt x="2855187" y="893109"/>
                  </a:cubicBezTo>
                  <a:cubicBezTo>
                    <a:pt x="2904886" y="831265"/>
                    <a:pt x="2955929" y="768077"/>
                    <a:pt x="2978764" y="696822"/>
                  </a:cubicBezTo>
                  <a:cubicBezTo>
                    <a:pt x="3004286" y="620189"/>
                    <a:pt x="2993540" y="535490"/>
                    <a:pt x="2949213" y="456169"/>
                  </a:cubicBezTo>
                  <a:cubicBezTo>
                    <a:pt x="2900857" y="367436"/>
                    <a:pt x="2816233" y="301559"/>
                    <a:pt x="2726236" y="280048"/>
                  </a:cubicBezTo>
                  <a:lnTo>
                    <a:pt x="2726236" y="280048"/>
                  </a:lnTo>
                  <a:cubicBezTo>
                    <a:pt x="2457589" y="212826"/>
                    <a:pt x="2286998" y="431969"/>
                    <a:pt x="2136555" y="625567"/>
                  </a:cubicBezTo>
                  <a:cubicBezTo>
                    <a:pt x="2117750" y="649767"/>
                    <a:pt x="2100288" y="672622"/>
                    <a:pt x="2082825" y="694133"/>
                  </a:cubicBezTo>
                  <a:cubicBezTo>
                    <a:pt x="2065363" y="715644"/>
                    <a:pt x="2011634" y="782865"/>
                    <a:pt x="1947159" y="760010"/>
                  </a:cubicBezTo>
                  <a:cubicBezTo>
                    <a:pt x="1927010" y="753288"/>
                    <a:pt x="1909548" y="737155"/>
                    <a:pt x="1893429" y="711611"/>
                  </a:cubicBezTo>
                  <a:cubicBezTo>
                    <a:pt x="1857162" y="652456"/>
                    <a:pt x="1851789" y="582545"/>
                    <a:pt x="1846416" y="516668"/>
                  </a:cubicBezTo>
                  <a:cubicBezTo>
                    <a:pt x="1843729" y="480368"/>
                    <a:pt x="1841043" y="442724"/>
                    <a:pt x="1832984" y="409113"/>
                  </a:cubicBezTo>
                  <a:cubicBezTo>
                    <a:pt x="1819551" y="351303"/>
                    <a:pt x="1771195" y="294837"/>
                    <a:pt x="1721495" y="276015"/>
                  </a:cubicBezTo>
                  <a:cubicBezTo>
                    <a:pt x="1693287" y="266604"/>
                    <a:pt x="1667765" y="269293"/>
                    <a:pt x="1646273" y="285426"/>
                  </a:cubicBezTo>
                  <a:cubicBezTo>
                    <a:pt x="1592544" y="327103"/>
                    <a:pt x="1614036" y="418525"/>
                    <a:pt x="1631498" y="469613"/>
                  </a:cubicBezTo>
                  <a:lnTo>
                    <a:pt x="1632841" y="474991"/>
                  </a:lnTo>
                  <a:cubicBezTo>
                    <a:pt x="1657020" y="544901"/>
                    <a:pt x="1686571" y="632289"/>
                    <a:pt x="1643587" y="700855"/>
                  </a:cubicBezTo>
                  <a:cubicBezTo>
                    <a:pt x="1619409" y="738499"/>
                    <a:pt x="1579112" y="761355"/>
                    <a:pt x="1529412" y="762699"/>
                  </a:cubicBezTo>
                  <a:cubicBezTo>
                    <a:pt x="1464937" y="765388"/>
                    <a:pt x="1396432" y="731777"/>
                    <a:pt x="1360164" y="680689"/>
                  </a:cubicBezTo>
                  <a:cubicBezTo>
                    <a:pt x="1297032" y="593301"/>
                    <a:pt x="1298375" y="476335"/>
                    <a:pt x="1299719" y="382225"/>
                  </a:cubicBezTo>
                  <a:cubicBezTo>
                    <a:pt x="1301062" y="284081"/>
                    <a:pt x="1297032" y="181905"/>
                    <a:pt x="1240616" y="110649"/>
                  </a:cubicBezTo>
                  <a:cubicBezTo>
                    <a:pt x="1190916" y="48806"/>
                    <a:pt x="1103606" y="20573"/>
                    <a:pt x="1028385" y="42084"/>
                  </a:cubicBezTo>
                  <a:cubicBezTo>
                    <a:pt x="951820" y="63594"/>
                    <a:pt x="892718" y="133505"/>
                    <a:pt x="884658" y="212826"/>
                  </a:cubicBezTo>
                  <a:cubicBezTo>
                    <a:pt x="875256" y="293492"/>
                    <a:pt x="912867" y="367436"/>
                    <a:pt x="951820" y="446757"/>
                  </a:cubicBezTo>
                  <a:cubicBezTo>
                    <a:pt x="963909" y="472302"/>
                    <a:pt x="977342" y="497846"/>
                    <a:pt x="988087" y="523390"/>
                  </a:cubicBezTo>
                  <a:cubicBezTo>
                    <a:pt x="1057936" y="684722"/>
                    <a:pt x="1006893" y="815132"/>
                    <a:pt x="923612" y="854120"/>
                  </a:cubicBezTo>
                  <a:cubicBezTo>
                    <a:pt x="843018" y="893109"/>
                    <a:pt x="753021" y="855465"/>
                    <a:pt x="667054" y="809754"/>
                  </a:cubicBezTo>
                  <a:lnTo>
                    <a:pt x="454823" y="695477"/>
                  </a:lnTo>
                  <a:cubicBezTo>
                    <a:pt x="409153" y="671278"/>
                    <a:pt x="358110" y="643045"/>
                    <a:pt x="304380" y="639011"/>
                  </a:cubicBezTo>
                  <a:cubicBezTo>
                    <a:pt x="226472" y="632289"/>
                    <a:pt x="144535" y="676655"/>
                    <a:pt x="96178" y="751944"/>
                  </a:cubicBezTo>
                  <a:cubicBezTo>
                    <a:pt x="43792" y="832610"/>
                    <a:pt x="37076" y="930753"/>
                    <a:pt x="39762" y="999319"/>
                  </a:cubicBezTo>
                  <a:cubicBezTo>
                    <a:pt x="57225" y="1304505"/>
                    <a:pt x="317812" y="1572047"/>
                    <a:pt x="621384" y="1597591"/>
                  </a:cubicBezTo>
                  <a:cubicBezTo>
                    <a:pt x="791975" y="1612380"/>
                    <a:pt x="962566" y="1555914"/>
                    <a:pt x="1127784" y="1502136"/>
                  </a:cubicBezTo>
                  <a:cubicBezTo>
                    <a:pt x="1160022" y="1491381"/>
                    <a:pt x="1192260" y="1480626"/>
                    <a:pt x="1224497" y="1471215"/>
                  </a:cubicBezTo>
                  <a:cubicBezTo>
                    <a:pt x="1381656" y="1424160"/>
                    <a:pt x="1502547" y="1406682"/>
                    <a:pt x="1596574" y="140668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86" name="Google Shape;186;p8"/>
            <p:cNvSpPr/>
            <p:nvPr/>
          </p:nvSpPr>
          <p:spPr>
            <a:xfrm>
              <a:off x="2589362" y="-1454156"/>
              <a:ext cx="2066222" cy="2161334"/>
            </a:xfrm>
            <a:custGeom>
              <a:avLst/>
              <a:gdLst/>
              <a:ahLst/>
              <a:cxnLst/>
              <a:rect l="l" t="t" r="r" b="b"/>
              <a:pathLst>
                <a:path w="2066222" h="2161334" extrusionOk="0">
                  <a:moveTo>
                    <a:pt x="337808" y="2161335"/>
                  </a:moveTo>
                  <a:cubicBezTo>
                    <a:pt x="321689" y="2161335"/>
                    <a:pt x="306913" y="2159990"/>
                    <a:pt x="290794" y="2155957"/>
                  </a:cubicBezTo>
                  <a:cubicBezTo>
                    <a:pt x="216916" y="2139824"/>
                    <a:pt x="149755" y="2086046"/>
                    <a:pt x="86623" y="1989247"/>
                  </a:cubicBezTo>
                  <a:cubicBezTo>
                    <a:pt x="7371" y="1868248"/>
                    <a:pt x="-18150" y="1753972"/>
                    <a:pt x="12745" y="1661206"/>
                  </a:cubicBezTo>
                  <a:cubicBezTo>
                    <a:pt x="67817" y="1495841"/>
                    <a:pt x="269303" y="1448786"/>
                    <a:pt x="383478" y="1435341"/>
                  </a:cubicBezTo>
                  <a:cubicBezTo>
                    <a:pt x="407656" y="1432653"/>
                    <a:pt x="433177" y="1429964"/>
                    <a:pt x="458699" y="1427275"/>
                  </a:cubicBezTo>
                  <a:cubicBezTo>
                    <a:pt x="576904" y="1415175"/>
                    <a:pt x="700482" y="1403075"/>
                    <a:pt x="790479" y="1333165"/>
                  </a:cubicBezTo>
                  <a:cubicBezTo>
                    <a:pt x="817343" y="1312998"/>
                    <a:pt x="836148" y="1290143"/>
                    <a:pt x="845551" y="1267287"/>
                  </a:cubicBezTo>
                  <a:cubicBezTo>
                    <a:pt x="872416" y="1202755"/>
                    <a:pt x="837492" y="1127467"/>
                    <a:pt x="803911" y="1053523"/>
                  </a:cubicBezTo>
                  <a:cubicBezTo>
                    <a:pt x="763614" y="964790"/>
                    <a:pt x="721973" y="873369"/>
                    <a:pt x="782419" y="796736"/>
                  </a:cubicBezTo>
                  <a:cubicBezTo>
                    <a:pt x="842865" y="720104"/>
                    <a:pt x="957040" y="733548"/>
                    <a:pt x="1044350" y="771192"/>
                  </a:cubicBezTo>
                  <a:cubicBezTo>
                    <a:pt x="1059126" y="777914"/>
                    <a:pt x="1073902" y="784636"/>
                    <a:pt x="1088677" y="791359"/>
                  </a:cubicBezTo>
                  <a:cubicBezTo>
                    <a:pt x="1153152" y="820936"/>
                    <a:pt x="1213598" y="850514"/>
                    <a:pt x="1275387" y="839758"/>
                  </a:cubicBezTo>
                  <a:cubicBezTo>
                    <a:pt x="1318371" y="833036"/>
                    <a:pt x="1353295" y="787325"/>
                    <a:pt x="1360011" y="749681"/>
                  </a:cubicBezTo>
                  <a:cubicBezTo>
                    <a:pt x="1364041" y="730859"/>
                    <a:pt x="1362697" y="705315"/>
                    <a:pt x="1337176" y="691871"/>
                  </a:cubicBezTo>
                  <a:cubicBezTo>
                    <a:pt x="1322400" y="683804"/>
                    <a:pt x="1304938" y="681115"/>
                    <a:pt x="1284790" y="678426"/>
                  </a:cubicBezTo>
                  <a:lnTo>
                    <a:pt x="1280760" y="678426"/>
                  </a:lnTo>
                  <a:cubicBezTo>
                    <a:pt x="1181360" y="666326"/>
                    <a:pt x="1111512" y="639438"/>
                    <a:pt x="1059126" y="595072"/>
                  </a:cubicBezTo>
                  <a:cubicBezTo>
                    <a:pt x="998680" y="543983"/>
                    <a:pt x="958383" y="448528"/>
                    <a:pt x="995994" y="366518"/>
                  </a:cubicBezTo>
                  <a:cubicBezTo>
                    <a:pt x="1040321" y="269719"/>
                    <a:pt x="1236433" y="77465"/>
                    <a:pt x="1334489" y="34443"/>
                  </a:cubicBezTo>
                  <a:cubicBezTo>
                    <a:pt x="1486275" y="-30089"/>
                    <a:pt x="1706566" y="-1856"/>
                    <a:pt x="1848949" y="101665"/>
                  </a:cubicBezTo>
                  <a:lnTo>
                    <a:pt x="1848949" y="101665"/>
                  </a:lnTo>
                  <a:cubicBezTo>
                    <a:pt x="2034316" y="236108"/>
                    <a:pt x="2094761" y="502306"/>
                    <a:pt x="1981930" y="682460"/>
                  </a:cubicBezTo>
                  <a:cubicBezTo>
                    <a:pt x="1973870" y="694560"/>
                    <a:pt x="1965811" y="706659"/>
                    <a:pt x="1957751" y="717415"/>
                  </a:cubicBezTo>
                  <a:cubicBezTo>
                    <a:pt x="1941633" y="740270"/>
                    <a:pt x="1926857" y="761781"/>
                    <a:pt x="1916111" y="785981"/>
                  </a:cubicBezTo>
                  <a:cubicBezTo>
                    <a:pt x="1879844" y="876058"/>
                    <a:pt x="1929543" y="968824"/>
                    <a:pt x="1981930" y="1066967"/>
                  </a:cubicBezTo>
                  <a:cubicBezTo>
                    <a:pt x="2034316" y="1165111"/>
                    <a:pt x="2088045" y="1267287"/>
                    <a:pt x="2057151" y="1372153"/>
                  </a:cubicBezTo>
                  <a:cubicBezTo>
                    <a:pt x="2030286" y="1464919"/>
                    <a:pt x="1944319" y="1525418"/>
                    <a:pt x="1858352" y="1577851"/>
                  </a:cubicBezTo>
                  <a:cubicBezTo>
                    <a:pt x="1710596" y="1669272"/>
                    <a:pt x="1538662" y="1752627"/>
                    <a:pt x="1388219" y="1678684"/>
                  </a:cubicBezTo>
                  <a:cubicBezTo>
                    <a:pt x="1358668" y="1663895"/>
                    <a:pt x="1329117" y="1643728"/>
                    <a:pt x="1302252" y="1623562"/>
                  </a:cubicBezTo>
                  <a:cubicBezTo>
                    <a:pt x="1247179" y="1583229"/>
                    <a:pt x="1194793" y="1544241"/>
                    <a:pt x="1138377" y="1561718"/>
                  </a:cubicBezTo>
                  <a:cubicBezTo>
                    <a:pt x="1095393" y="1573818"/>
                    <a:pt x="1067185" y="1616840"/>
                    <a:pt x="1038977" y="1657173"/>
                  </a:cubicBezTo>
                  <a:lnTo>
                    <a:pt x="1034948" y="1662550"/>
                  </a:lnTo>
                  <a:cubicBezTo>
                    <a:pt x="903310" y="1852115"/>
                    <a:pt x="724660" y="2005380"/>
                    <a:pt x="516458" y="2106213"/>
                  </a:cubicBezTo>
                  <a:cubicBezTo>
                    <a:pt x="466758" y="2135791"/>
                    <a:pt x="402283" y="2161335"/>
                    <a:pt x="337808" y="2161335"/>
                  </a:cubicBezTo>
                  <a:close/>
                  <a:moveTo>
                    <a:pt x="911370" y="783292"/>
                  </a:moveTo>
                  <a:cubicBezTo>
                    <a:pt x="872416" y="783292"/>
                    <a:pt x="836148" y="794047"/>
                    <a:pt x="813313" y="823625"/>
                  </a:cubicBezTo>
                  <a:cubicBezTo>
                    <a:pt x="767644" y="881436"/>
                    <a:pt x="801224" y="954035"/>
                    <a:pt x="838835" y="1038734"/>
                  </a:cubicBezTo>
                  <a:cubicBezTo>
                    <a:pt x="876446" y="1119400"/>
                    <a:pt x="914056" y="1204099"/>
                    <a:pt x="880475" y="1284765"/>
                  </a:cubicBezTo>
                  <a:cubicBezTo>
                    <a:pt x="868386" y="1314343"/>
                    <a:pt x="845551" y="1341231"/>
                    <a:pt x="813313" y="1366775"/>
                  </a:cubicBezTo>
                  <a:cubicBezTo>
                    <a:pt x="712571" y="1443408"/>
                    <a:pt x="584963" y="1456852"/>
                    <a:pt x="460042" y="1468952"/>
                  </a:cubicBezTo>
                  <a:cubicBezTo>
                    <a:pt x="435864" y="1471641"/>
                    <a:pt x="410342" y="1474330"/>
                    <a:pt x="386164" y="1477019"/>
                  </a:cubicBezTo>
                  <a:cubicBezTo>
                    <a:pt x="281392" y="1489119"/>
                    <a:pt x="97368" y="1532140"/>
                    <a:pt x="49012" y="1675995"/>
                  </a:cubicBezTo>
                  <a:cubicBezTo>
                    <a:pt x="14088" y="1778172"/>
                    <a:pt x="67817" y="1892448"/>
                    <a:pt x="117517" y="1969081"/>
                  </a:cubicBezTo>
                  <a:cubicBezTo>
                    <a:pt x="173933" y="2056469"/>
                    <a:pt x="233035" y="2104869"/>
                    <a:pt x="296167" y="2118313"/>
                  </a:cubicBezTo>
                  <a:cubicBezTo>
                    <a:pt x="366016" y="2133102"/>
                    <a:pt x="439894" y="2103524"/>
                    <a:pt x="497653" y="2076635"/>
                  </a:cubicBezTo>
                  <a:cubicBezTo>
                    <a:pt x="699138" y="1979836"/>
                    <a:pt x="873759" y="1830604"/>
                    <a:pt x="1000024" y="1646417"/>
                  </a:cubicBezTo>
                  <a:lnTo>
                    <a:pt x="1004053" y="1641040"/>
                  </a:lnTo>
                  <a:cubicBezTo>
                    <a:pt x="1034948" y="1596673"/>
                    <a:pt x="1069872" y="1546929"/>
                    <a:pt x="1124944" y="1529452"/>
                  </a:cubicBezTo>
                  <a:cubicBezTo>
                    <a:pt x="1200166" y="1506596"/>
                    <a:pt x="1263298" y="1553651"/>
                    <a:pt x="1323743" y="1598018"/>
                  </a:cubicBezTo>
                  <a:cubicBezTo>
                    <a:pt x="1349265" y="1616840"/>
                    <a:pt x="1377473" y="1637006"/>
                    <a:pt x="1404338" y="1650451"/>
                  </a:cubicBezTo>
                  <a:cubicBezTo>
                    <a:pt x="1535975" y="1714983"/>
                    <a:pt x="1695820" y="1637006"/>
                    <a:pt x="1835516" y="1550963"/>
                  </a:cubicBezTo>
                  <a:cubicBezTo>
                    <a:pt x="1917454" y="1499874"/>
                    <a:pt x="1992675" y="1447441"/>
                    <a:pt x="2016853" y="1368120"/>
                  </a:cubicBezTo>
                  <a:cubicBezTo>
                    <a:pt x="2043718" y="1278043"/>
                    <a:pt x="1995362" y="1187966"/>
                    <a:pt x="1944319" y="1092511"/>
                  </a:cubicBezTo>
                  <a:cubicBezTo>
                    <a:pt x="1889246" y="990335"/>
                    <a:pt x="1832830" y="884124"/>
                    <a:pt x="1875814" y="776570"/>
                  </a:cubicBezTo>
                  <a:cubicBezTo>
                    <a:pt x="1886560" y="748337"/>
                    <a:pt x="1904022" y="722793"/>
                    <a:pt x="1921484" y="698593"/>
                  </a:cubicBezTo>
                  <a:cubicBezTo>
                    <a:pt x="1929543" y="686493"/>
                    <a:pt x="1937603" y="675737"/>
                    <a:pt x="1944319" y="664982"/>
                  </a:cubicBezTo>
                  <a:cubicBezTo>
                    <a:pt x="2045061" y="504995"/>
                    <a:pt x="1987302" y="257619"/>
                    <a:pt x="1822084" y="137965"/>
                  </a:cubicBezTo>
                  <a:lnTo>
                    <a:pt x="1822084" y="137965"/>
                  </a:lnTo>
                  <a:cubicBezTo>
                    <a:pt x="1690447" y="42510"/>
                    <a:pt x="1486275" y="15621"/>
                    <a:pt x="1346578" y="74776"/>
                  </a:cubicBezTo>
                  <a:cubicBezTo>
                    <a:pt x="1256582" y="113765"/>
                    <a:pt x="1069872" y="296608"/>
                    <a:pt x="1028231" y="386685"/>
                  </a:cubicBezTo>
                  <a:cubicBezTo>
                    <a:pt x="998680" y="451217"/>
                    <a:pt x="1032261" y="526506"/>
                    <a:pt x="1080618" y="568183"/>
                  </a:cubicBezTo>
                  <a:cubicBezTo>
                    <a:pt x="1126288" y="607171"/>
                    <a:pt x="1190763" y="631371"/>
                    <a:pt x="1280760" y="642127"/>
                  </a:cubicBezTo>
                  <a:lnTo>
                    <a:pt x="1284790" y="642127"/>
                  </a:lnTo>
                  <a:cubicBezTo>
                    <a:pt x="1306281" y="644815"/>
                    <a:pt x="1330460" y="647504"/>
                    <a:pt x="1353295" y="659604"/>
                  </a:cubicBezTo>
                  <a:cubicBezTo>
                    <a:pt x="1386876" y="679771"/>
                    <a:pt x="1402995" y="717415"/>
                    <a:pt x="1394935" y="760437"/>
                  </a:cubicBezTo>
                  <a:cubicBezTo>
                    <a:pt x="1385532" y="811525"/>
                    <a:pt x="1341206" y="872024"/>
                    <a:pt x="1276730" y="882780"/>
                  </a:cubicBezTo>
                  <a:cubicBezTo>
                    <a:pt x="1201509" y="894880"/>
                    <a:pt x="1133004" y="862613"/>
                    <a:pt x="1065842" y="831692"/>
                  </a:cubicBezTo>
                  <a:cubicBezTo>
                    <a:pt x="1051066" y="824969"/>
                    <a:pt x="1036291" y="818247"/>
                    <a:pt x="1021515" y="811525"/>
                  </a:cubicBezTo>
                  <a:cubicBezTo>
                    <a:pt x="993307" y="795392"/>
                    <a:pt x="950324" y="783292"/>
                    <a:pt x="911370" y="78329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187" name="Google Shape;187;p8"/>
          <p:cNvSpPr txBox="1">
            <a:spLocks noGrp="1"/>
          </p:cNvSpPr>
          <p:nvPr>
            <p:ph type="title"/>
          </p:nvPr>
        </p:nvSpPr>
        <p:spPr>
          <a:xfrm>
            <a:off x="950967" y="2791596"/>
            <a:ext cx="10290000" cy="127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4800"/>
              <a:buNone/>
              <a:defRPr sz="6267"/>
            </a:lvl1pPr>
            <a:lvl2pPr lvl="1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2pPr>
            <a:lvl3pPr lvl="2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3pPr>
            <a:lvl4pPr lvl="3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4pPr>
            <a:lvl5pPr lvl="4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5pPr>
            <a:lvl6pPr lvl="5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6pPr>
            <a:lvl7pPr lvl="6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7pPr>
            <a:lvl8pPr lvl="7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8pPr>
            <a:lvl9pPr lvl="8">
              <a:spcBef>
                <a:spcPts val="0"/>
              </a:spcBef>
              <a:spcAft>
                <a:spcPts val="0"/>
              </a:spcAft>
              <a:buSzPts val="4800"/>
              <a:buNone/>
              <a:defRPr sz="64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9" name="Google Shape;189;p9"/>
          <p:cNvGrpSpPr/>
          <p:nvPr/>
        </p:nvGrpSpPr>
        <p:grpSpPr>
          <a:xfrm>
            <a:off x="-495075" y="-1379199"/>
            <a:ext cx="14843128" cy="10956483"/>
            <a:chOff x="-371306" y="-1034399"/>
            <a:chExt cx="11132346" cy="8217362"/>
          </a:xfrm>
        </p:grpSpPr>
        <p:grpSp>
          <p:nvGrpSpPr>
            <p:cNvPr id="190" name="Google Shape;190;p9"/>
            <p:cNvGrpSpPr/>
            <p:nvPr/>
          </p:nvGrpSpPr>
          <p:grpSpPr>
            <a:xfrm rot="8699549">
              <a:off x="8479509" y="796222"/>
              <a:ext cx="1962417" cy="1731397"/>
              <a:chOff x="6730953" y="3918493"/>
              <a:chExt cx="1962362" cy="1731348"/>
            </a:xfrm>
          </p:grpSpPr>
          <p:sp>
            <p:nvSpPr>
              <p:cNvPr id="191" name="Google Shape;191;p9"/>
              <p:cNvSpPr/>
              <p:nvPr/>
            </p:nvSpPr>
            <p:spPr>
              <a:xfrm>
                <a:off x="7606240" y="3993966"/>
                <a:ext cx="989494" cy="733535"/>
              </a:xfrm>
              <a:custGeom>
                <a:avLst/>
                <a:gdLst/>
                <a:ahLst/>
                <a:cxnLst/>
                <a:rect l="l" t="t" r="r" b="b"/>
                <a:pathLst>
                  <a:path w="989494" h="733535" extrusionOk="0">
                    <a:moveTo>
                      <a:pt x="248676" y="549786"/>
                    </a:moveTo>
                    <a:cubicBezTo>
                      <a:pt x="374940" y="588774"/>
                      <a:pt x="481056" y="704395"/>
                      <a:pt x="607321" y="729940"/>
                    </a:cubicBezTo>
                    <a:cubicBezTo>
                      <a:pt x="694631" y="747417"/>
                      <a:pt x="784628" y="699018"/>
                      <a:pt x="842387" y="631796"/>
                    </a:cubicBezTo>
                    <a:cubicBezTo>
                      <a:pt x="898803" y="565919"/>
                      <a:pt x="1010291" y="376354"/>
                      <a:pt x="986113" y="284933"/>
                    </a:cubicBezTo>
                    <a:cubicBezTo>
                      <a:pt x="957905" y="182756"/>
                      <a:pt x="832985" y="178723"/>
                      <a:pt x="745674" y="130323"/>
                    </a:cubicBezTo>
                    <a:cubicBezTo>
                      <a:pt x="585829" y="42935"/>
                      <a:pt x="459564" y="-39076"/>
                      <a:pt x="267481" y="20080"/>
                    </a:cubicBezTo>
                    <a:cubicBezTo>
                      <a:pt x="119725" y="65790"/>
                      <a:pt x="-15941" y="198889"/>
                      <a:pt x="1521" y="365598"/>
                    </a:cubicBezTo>
                    <a:cubicBezTo>
                      <a:pt x="16296" y="526930"/>
                      <a:pt x="121069" y="509453"/>
                      <a:pt x="248676" y="54978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2" name="Google Shape;192;p9"/>
              <p:cNvSpPr/>
              <p:nvPr/>
            </p:nvSpPr>
            <p:spPr>
              <a:xfrm>
                <a:off x="7374821" y="4790720"/>
                <a:ext cx="983997" cy="859121"/>
              </a:xfrm>
              <a:custGeom>
                <a:avLst/>
                <a:gdLst/>
                <a:ahLst/>
                <a:cxnLst/>
                <a:rect l="l" t="t" r="r" b="b"/>
                <a:pathLst>
                  <a:path w="983997" h="859121" extrusionOk="0">
                    <a:moveTo>
                      <a:pt x="664119" y="406"/>
                    </a:moveTo>
                    <a:cubicBezTo>
                      <a:pt x="462633" y="-7660"/>
                      <a:pt x="261148" y="105272"/>
                      <a:pt x="133540" y="255849"/>
                    </a:cubicBezTo>
                    <a:cubicBezTo>
                      <a:pt x="23395" y="384914"/>
                      <a:pt x="-54513" y="574479"/>
                      <a:pt x="47573" y="730433"/>
                    </a:cubicBezTo>
                    <a:cubicBezTo>
                      <a:pt x="232940" y="1016797"/>
                      <a:pt x="502931" y="751944"/>
                      <a:pt x="696357" y="639012"/>
                    </a:cubicBezTo>
                    <a:cubicBezTo>
                      <a:pt x="748743" y="609434"/>
                      <a:pt x="805159" y="586579"/>
                      <a:pt x="853515" y="550279"/>
                    </a:cubicBezTo>
                    <a:cubicBezTo>
                      <a:pt x="1108730" y="356681"/>
                      <a:pt x="959631" y="11162"/>
                      <a:pt x="664119" y="40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3" name="Google Shape;193;p9"/>
              <p:cNvSpPr/>
              <p:nvPr/>
            </p:nvSpPr>
            <p:spPr>
              <a:xfrm>
                <a:off x="6866202" y="4524993"/>
                <a:ext cx="679468" cy="589657"/>
              </a:xfrm>
              <a:custGeom>
                <a:avLst/>
                <a:gdLst/>
                <a:ahLst/>
                <a:cxnLst/>
                <a:rect l="l" t="t" r="r" b="b"/>
                <a:pathLst>
                  <a:path w="679468" h="589657" extrusionOk="0">
                    <a:moveTo>
                      <a:pt x="515895" y="353522"/>
                    </a:moveTo>
                    <a:cubicBezTo>
                      <a:pt x="549476" y="319911"/>
                      <a:pt x="612608" y="346800"/>
                      <a:pt x="647532" y="309156"/>
                    </a:cubicBezTo>
                    <a:cubicBezTo>
                      <a:pt x="694546" y="259412"/>
                      <a:pt x="683800" y="169335"/>
                      <a:pt x="652905" y="112869"/>
                    </a:cubicBezTo>
                    <a:cubicBezTo>
                      <a:pt x="592460" y="1281"/>
                      <a:pt x="294261" y="-52497"/>
                      <a:pt x="241875" y="69847"/>
                    </a:cubicBezTo>
                    <a:cubicBezTo>
                      <a:pt x="65911" y="124969"/>
                      <a:pt x="-38862" y="213701"/>
                      <a:pt x="13524" y="349489"/>
                    </a:cubicBezTo>
                    <a:cubicBezTo>
                      <a:pt x="83373" y="525609"/>
                      <a:pt x="419182" y="728618"/>
                      <a:pt x="497090" y="458388"/>
                    </a:cubicBezTo>
                    <a:cubicBezTo>
                      <a:pt x="509179" y="418055"/>
                      <a:pt x="482314" y="385788"/>
                      <a:pt x="515895" y="35352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4" name="Google Shape;194;p9"/>
              <p:cNvSpPr/>
              <p:nvPr/>
            </p:nvSpPr>
            <p:spPr>
              <a:xfrm>
                <a:off x="7018173" y="3918493"/>
                <a:ext cx="450521" cy="468166"/>
              </a:xfrm>
              <a:custGeom>
                <a:avLst/>
                <a:gdLst/>
                <a:ahLst/>
                <a:cxnLst/>
                <a:rect l="l" t="t" r="r" b="b"/>
                <a:pathLst>
                  <a:path w="450521" h="468166" extrusionOk="0">
                    <a:moveTo>
                      <a:pt x="134230" y="450483"/>
                    </a:moveTo>
                    <a:cubicBezTo>
                      <a:pt x="221541" y="486782"/>
                      <a:pt x="343775" y="466616"/>
                      <a:pt x="409594" y="395361"/>
                    </a:cubicBezTo>
                    <a:cubicBezTo>
                      <a:pt x="506307" y="291839"/>
                      <a:pt x="418996" y="48498"/>
                      <a:pt x="279300" y="8165"/>
                    </a:cubicBezTo>
                    <a:cubicBezTo>
                      <a:pt x="181244" y="-20069"/>
                      <a:pt x="80501" y="28331"/>
                      <a:pt x="50950" y="100930"/>
                    </a:cubicBezTo>
                    <a:cubicBezTo>
                      <a:pt x="-55166" y="193696"/>
                      <a:pt x="20055" y="403427"/>
                      <a:pt x="134230" y="45048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5" name="Google Shape;195;p9"/>
              <p:cNvSpPr/>
              <p:nvPr/>
            </p:nvSpPr>
            <p:spPr>
              <a:xfrm>
                <a:off x="6757659" y="5205962"/>
                <a:ext cx="435900" cy="342612"/>
              </a:xfrm>
              <a:custGeom>
                <a:avLst/>
                <a:gdLst/>
                <a:ahLst/>
                <a:cxnLst/>
                <a:rect l="l" t="t" r="r" b="b"/>
                <a:pathLst>
                  <a:path w="435900" h="342612" extrusionOk="0">
                    <a:moveTo>
                      <a:pt x="95203" y="12694"/>
                    </a:moveTo>
                    <a:cubicBezTo>
                      <a:pt x="-43151" y="-4784"/>
                      <a:pt x="-9570" y="195536"/>
                      <a:pt x="62965" y="256036"/>
                    </a:cubicBezTo>
                    <a:cubicBezTo>
                      <a:pt x="132813" y="315191"/>
                      <a:pt x="400117" y="409301"/>
                      <a:pt x="433698" y="270825"/>
                    </a:cubicBezTo>
                    <a:cubicBezTo>
                      <a:pt x="459220" y="161926"/>
                      <a:pt x="257734" y="-54528"/>
                      <a:pt x="95203" y="1269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6" name="Google Shape;196;p9"/>
              <p:cNvSpPr/>
              <p:nvPr/>
            </p:nvSpPr>
            <p:spPr>
              <a:xfrm>
                <a:off x="6730953" y="4336971"/>
                <a:ext cx="250183" cy="225252"/>
              </a:xfrm>
              <a:custGeom>
                <a:avLst/>
                <a:gdLst/>
                <a:ahLst/>
                <a:cxnLst/>
                <a:rect l="l" t="t" r="r" b="b"/>
                <a:pathLst>
                  <a:path w="250183" h="225252" extrusionOk="0">
                    <a:moveTo>
                      <a:pt x="189071" y="210814"/>
                    </a:moveTo>
                    <a:cubicBezTo>
                      <a:pt x="281754" y="169137"/>
                      <a:pt x="258919" y="73682"/>
                      <a:pt x="187728" y="21249"/>
                    </a:cubicBezTo>
                    <a:lnTo>
                      <a:pt x="131312" y="2427"/>
                    </a:lnTo>
                    <a:cubicBezTo>
                      <a:pt x="-90323" y="-31184"/>
                      <a:pt x="-4355" y="296858"/>
                      <a:pt x="189071" y="21081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197" name="Google Shape;197;p9"/>
              <p:cNvSpPr/>
              <p:nvPr/>
            </p:nvSpPr>
            <p:spPr>
              <a:xfrm>
                <a:off x="8380179" y="4687148"/>
                <a:ext cx="313136" cy="349966"/>
              </a:xfrm>
              <a:custGeom>
                <a:avLst/>
                <a:gdLst/>
                <a:ahLst/>
                <a:cxnLst/>
                <a:rect l="l" t="t" r="r" b="b"/>
                <a:pathLst>
                  <a:path w="313136" h="349966" extrusionOk="0">
                    <a:moveTo>
                      <a:pt x="177250" y="1802"/>
                    </a:moveTo>
                    <a:cubicBezTo>
                      <a:pt x="138296" y="-6265"/>
                      <a:pt x="126207" y="13902"/>
                      <a:pt x="100685" y="39446"/>
                    </a:cubicBezTo>
                    <a:cubicBezTo>
                      <a:pt x="65761" y="69023"/>
                      <a:pt x="21434" y="66335"/>
                      <a:pt x="5316" y="142967"/>
                    </a:cubicBezTo>
                    <a:cubicBezTo>
                      <a:pt x="-14833" y="237077"/>
                      <a:pt x="21434" y="332532"/>
                      <a:pt x="128893" y="348665"/>
                    </a:cubicBezTo>
                    <a:cubicBezTo>
                      <a:pt x="224263" y="363454"/>
                      <a:pt x="318290" y="249177"/>
                      <a:pt x="312916" y="157756"/>
                    </a:cubicBezTo>
                    <a:cubicBezTo>
                      <a:pt x="310230" y="98601"/>
                      <a:pt x="236352" y="15246"/>
                      <a:pt x="177250" y="180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198" name="Google Shape;198;p9"/>
            <p:cNvSpPr/>
            <p:nvPr/>
          </p:nvSpPr>
          <p:spPr>
            <a:xfrm rot="-5400000" flipH="1">
              <a:off x="-1228978" y="-176727"/>
              <a:ext cx="3147793" cy="1432450"/>
            </a:xfrm>
            <a:custGeom>
              <a:avLst/>
              <a:gdLst/>
              <a:ahLst/>
              <a:cxnLst/>
              <a:rect l="l" t="t" r="r" b="b"/>
              <a:pathLst>
                <a:path w="3147793" h="1432450" extrusionOk="0">
                  <a:moveTo>
                    <a:pt x="5" y="0"/>
                  </a:moveTo>
                  <a:cubicBezTo>
                    <a:pt x="2095" y="60948"/>
                    <a:pt x="4029" y="117787"/>
                    <a:pt x="7248" y="166108"/>
                  </a:cubicBezTo>
                  <a:cubicBezTo>
                    <a:pt x="29386" y="498514"/>
                    <a:pt x="91176" y="997120"/>
                    <a:pt x="279439" y="1120824"/>
                  </a:cubicBezTo>
                  <a:cubicBezTo>
                    <a:pt x="428055" y="1218478"/>
                    <a:pt x="537675" y="984218"/>
                    <a:pt x="670878" y="1078596"/>
                  </a:cubicBezTo>
                  <a:cubicBezTo>
                    <a:pt x="761504" y="1142806"/>
                    <a:pt x="825150" y="1304908"/>
                    <a:pt x="906947" y="1373723"/>
                  </a:cubicBezTo>
                  <a:cubicBezTo>
                    <a:pt x="1052507" y="1496183"/>
                    <a:pt x="1363613" y="1443288"/>
                    <a:pt x="1394255" y="1060306"/>
                  </a:cubicBezTo>
                  <a:cubicBezTo>
                    <a:pt x="1413108" y="824675"/>
                    <a:pt x="1190755" y="687312"/>
                    <a:pt x="1259001" y="469483"/>
                  </a:cubicBezTo>
                  <a:cubicBezTo>
                    <a:pt x="1341121" y="207363"/>
                    <a:pt x="1572647" y="474074"/>
                    <a:pt x="1644740" y="604519"/>
                  </a:cubicBezTo>
                  <a:cubicBezTo>
                    <a:pt x="1781519" y="852008"/>
                    <a:pt x="1906539" y="966060"/>
                    <a:pt x="2075133" y="694563"/>
                  </a:cubicBezTo>
                  <a:cubicBezTo>
                    <a:pt x="2154300" y="567074"/>
                    <a:pt x="2290772" y="416377"/>
                    <a:pt x="2458298" y="458812"/>
                  </a:cubicBezTo>
                  <a:cubicBezTo>
                    <a:pt x="2596413" y="493799"/>
                    <a:pt x="2656130" y="606644"/>
                    <a:pt x="2704667" y="729647"/>
                  </a:cubicBezTo>
                  <a:cubicBezTo>
                    <a:pt x="2743050" y="826923"/>
                    <a:pt x="2809757" y="868433"/>
                    <a:pt x="2928732" y="892891"/>
                  </a:cubicBezTo>
                  <a:cubicBezTo>
                    <a:pt x="3109223" y="929997"/>
                    <a:pt x="3127813" y="753080"/>
                    <a:pt x="3139828" y="643479"/>
                  </a:cubicBezTo>
                  <a:cubicBezTo>
                    <a:pt x="3159032" y="468291"/>
                    <a:pt x="3137743" y="292715"/>
                    <a:pt x="3135853" y="117323"/>
                  </a:cubicBezTo>
                  <a:cubicBezTo>
                    <a:pt x="3135414" y="76647"/>
                    <a:pt x="3136034" y="37879"/>
                    <a:pt x="3137189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99" name="Google Shape;199;p9"/>
            <p:cNvSpPr/>
            <p:nvPr/>
          </p:nvSpPr>
          <p:spPr>
            <a:xfrm rot="7863080">
              <a:off x="6201038" y="4355129"/>
              <a:ext cx="2173425" cy="2424432"/>
            </a:xfrm>
            <a:custGeom>
              <a:avLst/>
              <a:gdLst/>
              <a:ahLst/>
              <a:cxnLst/>
              <a:rect l="l" t="t" r="r" b="b"/>
              <a:pathLst>
                <a:path w="2170896" h="2421611" extrusionOk="0">
                  <a:moveTo>
                    <a:pt x="227233" y="412741"/>
                  </a:moveTo>
                  <a:cubicBezTo>
                    <a:pt x="145295" y="572728"/>
                    <a:pt x="-41414" y="833548"/>
                    <a:pt x="8286" y="1060757"/>
                  </a:cubicBezTo>
                  <a:cubicBezTo>
                    <a:pt x="60672" y="1293343"/>
                    <a:pt x="327976" y="1302754"/>
                    <a:pt x="440807" y="1433164"/>
                  </a:cubicBezTo>
                  <a:cubicBezTo>
                    <a:pt x="538864" y="1547441"/>
                    <a:pt x="540207" y="1712806"/>
                    <a:pt x="623488" y="1862038"/>
                  </a:cubicBezTo>
                  <a:cubicBezTo>
                    <a:pt x="804825" y="2184702"/>
                    <a:pt x="1163470" y="2393089"/>
                    <a:pt x="1449579" y="2419977"/>
                  </a:cubicBezTo>
                  <a:cubicBezTo>
                    <a:pt x="1649721" y="2438800"/>
                    <a:pt x="1825685" y="2289568"/>
                    <a:pt x="2024484" y="2254612"/>
                  </a:cubicBezTo>
                  <a:cubicBezTo>
                    <a:pt x="2064781" y="2247890"/>
                    <a:pt x="2115824" y="2238479"/>
                    <a:pt x="2170897" y="2229068"/>
                  </a:cubicBezTo>
                  <a:lnTo>
                    <a:pt x="2170897" y="0"/>
                  </a:lnTo>
                  <a:lnTo>
                    <a:pt x="384392" y="0"/>
                  </a:lnTo>
                  <a:cubicBezTo>
                    <a:pt x="353497" y="139821"/>
                    <a:pt x="297082" y="275609"/>
                    <a:pt x="227233" y="41274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00" name="Google Shape;200;p9"/>
          <p:cNvGrpSpPr/>
          <p:nvPr/>
        </p:nvGrpSpPr>
        <p:grpSpPr>
          <a:xfrm>
            <a:off x="-612785" y="-2064274"/>
            <a:ext cx="10337695" cy="10553985"/>
            <a:chOff x="-459588" y="-1548206"/>
            <a:chExt cx="7753271" cy="7915489"/>
          </a:xfrm>
        </p:grpSpPr>
        <p:sp>
          <p:nvSpPr>
            <p:cNvPr id="201" name="Google Shape;201;p9"/>
            <p:cNvSpPr/>
            <p:nvPr/>
          </p:nvSpPr>
          <p:spPr>
            <a:xfrm rot="10800000" flipH="1">
              <a:off x="4260644" y="-1548206"/>
              <a:ext cx="3033038" cy="2033186"/>
            </a:xfrm>
            <a:custGeom>
              <a:avLst/>
              <a:gdLst/>
              <a:ahLst/>
              <a:cxnLst/>
              <a:rect l="l" t="t" r="r" b="b"/>
              <a:pathLst>
                <a:path w="3033038" h="2033186" extrusionOk="0">
                  <a:moveTo>
                    <a:pt x="2145958" y="2033187"/>
                  </a:moveTo>
                  <a:cubicBezTo>
                    <a:pt x="2068050" y="2033187"/>
                    <a:pt x="2008947" y="2010332"/>
                    <a:pt x="1971337" y="1965965"/>
                  </a:cubicBezTo>
                  <a:cubicBezTo>
                    <a:pt x="1918951" y="1904122"/>
                    <a:pt x="1924324" y="1820767"/>
                    <a:pt x="1929696" y="1741446"/>
                  </a:cubicBezTo>
                  <a:cubicBezTo>
                    <a:pt x="1935069" y="1666157"/>
                    <a:pt x="1940443" y="1594903"/>
                    <a:pt x="1898802" y="1545158"/>
                  </a:cubicBezTo>
                  <a:cubicBezTo>
                    <a:pt x="1884027" y="1527681"/>
                    <a:pt x="1863878" y="1514237"/>
                    <a:pt x="1834327" y="1499448"/>
                  </a:cubicBezTo>
                  <a:cubicBezTo>
                    <a:pt x="1640901" y="1403993"/>
                    <a:pt x="1400461" y="1460459"/>
                    <a:pt x="1237930" y="1511548"/>
                  </a:cubicBezTo>
                  <a:cubicBezTo>
                    <a:pt x="1205692" y="1520959"/>
                    <a:pt x="1174798" y="1531714"/>
                    <a:pt x="1142560" y="1542469"/>
                  </a:cubicBezTo>
                  <a:cubicBezTo>
                    <a:pt x="974655" y="1597591"/>
                    <a:pt x="800034" y="1655402"/>
                    <a:pt x="620041" y="1640613"/>
                  </a:cubicBezTo>
                  <a:cubicBezTo>
                    <a:pt x="296321" y="1613724"/>
                    <a:pt x="19614" y="1328705"/>
                    <a:pt x="809" y="1004697"/>
                  </a:cubicBezTo>
                  <a:cubicBezTo>
                    <a:pt x="-4564" y="898487"/>
                    <a:pt x="16927" y="804376"/>
                    <a:pt x="62597" y="733122"/>
                  </a:cubicBezTo>
                  <a:cubicBezTo>
                    <a:pt x="119014" y="645734"/>
                    <a:pt x="215727" y="594645"/>
                    <a:pt x="308410" y="602712"/>
                  </a:cubicBezTo>
                  <a:cubicBezTo>
                    <a:pt x="370199" y="608089"/>
                    <a:pt x="425271" y="637667"/>
                    <a:pt x="474971" y="664556"/>
                  </a:cubicBezTo>
                  <a:lnTo>
                    <a:pt x="687203" y="778832"/>
                  </a:lnTo>
                  <a:cubicBezTo>
                    <a:pt x="763767" y="819165"/>
                    <a:pt x="841675" y="854120"/>
                    <a:pt x="907493" y="823198"/>
                  </a:cubicBezTo>
                  <a:cubicBezTo>
                    <a:pt x="1002863" y="777488"/>
                    <a:pt x="990774" y="632289"/>
                    <a:pt x="953164" y="544901"/>
                  </a:cubicBezTo>
                  <a:cubicBezTo>
                    <a:pt x="942417" y="519357"/>
                    <a:pt x="928985" y="495157"/>
                    <a:pt x="916896" y="469613"/>
                  </a:cubicBezTo>
                  <a:cubicBezTo>
                    <a:pt x="876599" y="388947"/>
                    <a:pt x="834959" y="305592"/>
                    <a:pt x="845705" y="212826"/>
                  </a:cubicBezTo>
                  <a:cubicBezTo>
                    <a:pt x="856450" y="118716"/>
                    <a:pt x="927642" y="34017"/>
                    <a:pt x="1018982" y="8473"/>
                  </a:cubicBezTo>
                  <a:cubicBezTo>
                    <a:pt x="1110322" y="-17072"/>
                    <a:pt x="1215095" y="16539"/>
                    <a:pt x="1274197" y="90483"/>
                  </a:cubicBezTo>
                  <a:cubicBezTo>
                    <a:pt x="1338672" y="171149"/>
                    <a:pt x="1342702" y="281392"/>
                    <a:pt x="1341359" y="387602"/>
                  </a:cubicBezTo>
                  <a:cubicBezTo>
                    <a:pt x="1340016" y="480368"/>
                    <a:pt x="1338672" y="585234"/>
                    <a:pt x="1393745" y="661867"/>
                  </a:cubicBezTo>
                  <a:cubicBezTo>
                    <a:pt x="1421953" y="702199"/>
                    <a:pt x="1478369" y="729088"/>
                    <a:pt x="1529412" y="726399"/>
                  </a:cubicBezTo>
                  <a:cubicBezTo>
                    <a:pt x="1565679" y="725055"/>
                    <a:pt x="1593887" y="710266"/>
                    <a:pt x="1611350" y="683377"/>
                  </a:cubicBezTo>
                  <a:cubicBezTo>
                    <a:pt x="1644931" y="629600"/>
                    <a:pt x="1619409" y="557001"/>
                    <a:pt x="1596574" y="491124"/>
                  </a:cubicBezTo>
                  <a:lnTo>
                    <a:pt x="1595231" y="485746"/>
                  </a:lnTo>
                  <a:cubicBezTo>
                    <a:pt x="1573739" y="425247"/>
                    <a:pt x="1549561" y="315003"/>
                    <a:pt x="1623439" y="257193"/>
                  </a:cubicBezTo>
                  <a:cubicBezTo>
                    <a:pt x="1655676" y="231648"/>
                    <a:pt x="1695973" y="226271"/>
                    <a:pt x="1736270" y="241059"/>
                  </a:cubicBezTo>
                  <a:cubicBezTo>
                    <a:pt x="1799403" y="263915"/>
                    <a:pt x="1857162" y="331137"/>
                    <a:pt x="1873281" y="402391"/>
                  </a:cubicBezTo>
                  <a:cubicBezTo>
                    <a:pt x="1881340" y="440035"/>
                    <a:pt x="1885370" y="479024"/>
                    <a:pt x="1888056" y="516668"/>
                  </a:cubicBezTo>
                  <a:cubicBezTo>
                    <a:pt x="1893429" y="581201"/>
                    <a:pt x="1897459" y="643045"/>
                    <a:pt x="1929696" y="694133"/>
                  </a:cubicBezTo>
                  <a:cubicBezTo>
                    <a:pt x="1940443" y="710266"/>
                    <a:pt x="1951188" y="721022"/>
                    <a:pt x="1961934" y="725055"/>
                  </a:cubicBezTo>
                  <a:cubicBezTo>
                    <a:pt x="1986113" y="733122"/>
                    <a:pt x="2017007" y="715644"/>
                    <a:pt x="2051931" y="671278"/>
                  </a:cubicBezTo>
                  <a:cubicBezTo>
                    <a:pt x="2069393" y="649767"/>
                    <a:pt x="2088199" y="625567"/>
                    <a:pt x="2105661" y="602712"/>
                  </a:cubicBezTo>
                  <a:cubicBezTo>
                    <a:pt x="2264162" y="399702"/>
                    <a:pt x="2442813" y="169805"/>
                    <a:pt x="2736982" y="242404"/>
                  </a:cubicBezTo>
                  <a:cubicBezTo>
                    <a:pt x="2839068" y="267948"/>
                    <a:pt x="2931751" y="340547"/>
                    <a:pt x="2985481" y="438691"/>
                  </a:cubicBezTo>
                  <a:cubicBezTo>
                    <a:pt x="3035181" y="527423"/>
                    <a:pt x="3045926" y="624223"/>
                    <a:pt x="3017718" y="711611"/>
                  </a:cubicBezTo>
                  <a:cubicBezTo>
                    <a:pt x="2992197" y="789588"/>
                    <a:pt x="2938467" y="856809"/>
                    <a:pt x="2886081" y="921342"/>
                  </a:cubicBezTo>
                  <a:cubicBezTo>
                    <a:pt x="2817576" y="1007386"/>
                    <a:pt x="2753101" y="1086707"/>
                    <a:pt x="2755787" y="1187539"/>
                  </a:cubicBezTo>
                  <a:cubicBezTo>
                    <a:pt x="2758474" y="1248039"/>
                    <a:pt x="2786682" y="1305850"/>
                    <a:pt x="2814889" y="1362316"/>
                  </a:cubicBezTo>
                  <a:cubicBezTo>
                    <a:pt x="2849814" y="1434915"/>
                    <a:pt x="2887425" y="1510203"/>
                    <a:pt x="2873992" y="1592214"/>
                  </a:cubicBezTo>
                  <a:cubicBezTo>
                    <a:pt x="2860560" y="1671535"/>
                    <a:pt x="2801457" y="1732034"/>
                    <a:pt x="2758474" y="1772367"/>
                  </a:cubicBezTo>
                  <a:cubicBezTo>
                    <a:pt x="2609374" y="1910844"/>
                    <a:pt x="2415948" y="2002265"/>
                    <a:pt x="2214463" y="2029154"/>
                  </a:cubicBezTo>
                  <a:cubicBezTo>
                    <a:pt x="2191628" y="2030498"/>
                    <a:pt x="2168793" y="2033187"/>
                    <a:pt x="2145958" y="2033187"/>
                  </a:cubicBezTo>
                  <a:close/>
                  <a:moveTo>
                    <a:pt x="1596574" y="1406682"/>
                  </a:moveTo>
                  <a:cubicBezTo>
                    <a:pt x="1718809" y="1406682"/>
                    <a:pt x="1796716" y="1434915"/>
                    <a:pt x="1853132" y="1463148"/>
                  </a:cubicBezTo>
                  <a:cubicBezTo>
                    <a:pt x="1874624" y="1473904"/>
                    <a:pt x="1906862" y="1491381"/>
                    <a:pt x="1929696" y="1519614"/>
                  </a:cubicBezTo>
                  <a:cubicBezTo>
                    <a:pt x="1982083" y="1581458"/>
                    <a:pt x="1976710" y="1664813"/>
                    <a:pt x="1969994" y="1744134"/>
                  </a:cubicBezTo>
                  <a:cubicBezTo>
                    <a:pt x="1964621" y="1819422"/>
                    <a:pt x="1959248" y="1890678"/>
                    <a:pt x="2002231" y="1940421"/>
                  </a:cubicBezTo>
                  <a:cubicBezTo>
                    <a:pt x="2041185" y="1986132"/>
                    <a:pt x="2111033" y="2002265"/>
                    <a:pt x="2210433" y="1987476"/>
                  </a:cubicBezTo>
                  <a:cubicBezTo>
                    <a:pt x="2403859" y="1960588"/>
                    <a:pt x="2589226" y="1873200"/>
                    <a:pt x="2732952" y="1740101"/>
                  </a:cubicBezTo>
                  <a:cubicBezTo>
                    <a:pt x="2771906" y="1705146"/>
                    <a:pt x="2824292" y="1650024"/>
                    <a:pt x="2835038" y="1582802"/>
                  </a:cubicBezTo>
                  <a:cubicBezTo>
                    <a:pt x="2847127" y="1512892"/>
                    <a:pt x="2814889" y="1447015"/>
                    <a:pt x="2779966" y="1377104"/>
                  </a:cubicBezTo>
                  <a:cubicBezTo>
                    <a:pt x="2750414" y="1316605"/>
                    <a:pt x="2719520" y="1253417"/>
                    <a:pt x="2716833" y="1186195"/>
                  </a:cubicBezTo>
                  <a:cubicBezTo>
                    <a:pt x="2712804" y="1070574"/>
                    <a:pt x="2785338" y="980497"/>
                    <a:pt x="2855187" y="893109"/>
                  </a:cubicBezTo>
                  <a:cubicBezTo>
                    <a:pt x="2904886" y="831265"/>
                    <a:pt x="2955929" y="768077"/>
                    <a:pt x="2978764" y="696822"/>
                  </a:cubicBezTo>
                  <a:cubicBezTo>
                    <a:pt x="3004286" y="620189"/>
                    <a:pt x="2993540" y="535490"/>
                    <a:pt x="2949213" y="456169"/>
                  </a:cubicBezTo>
                  <a:cubicBezTo>
                    <a:pt x="2900857" y="367436"/>
                    <a:pt x="2816233" y="301559"/>
                    <a:pt x="2726236" y="280048"/>
                  </a:cubicBezTo>
                  <a:lnTo>
                    <a:pt x="2726236" y="280048"/>
                  </a:lnTo>
                  <a:cubicBezTo>
                    <a:pt x="2457589" y="212826"/>
                    <a:pt x="2286998" y="431969"/>
                    <a:pt x="2136555" y="625567"/>
                  </a:cubicBezTo>
                  <a:cubicBezTo>
                    <a:pt x="2117750" y="649767"/>
                    <a:pt x="2100288" y="672622"/>
                    <a:pt x="2082825" y="694133"/>
                  </a:cubicBezTo>
                  <a:cubicBezTo>
                    <a:pt x="2065363" y="715644"/>
                    <a:pt x="2011634" y="782865"/>
                    <a:pt x="1947159" y="760010"/>
                  </a:cubicBezTo>
                  <a:cubicBezTo>
                    <a:pt x="1927010" y="753288"/>
                    <a:pt x="1909548" y="737155"/>
                    <a:pt x="1893429" y="711611"/>
                  </a:cubicBezTo>
                  <a:cubicBezTo>
                    <a:pt x="1857162" y="652456"/>
                    <a:pt x="1851789" y="582545"/>
                    <a:pt x="1846416" y="516668"/>
                  </a:cubicBezTo>
                  <a:cubicBezTo>
                    <a:pt x="1843729" y="480368"/>
                    <a:pt x="1841043" y="442724"/>
                    <a:pt x="1832984" y="409113"/>
                  </a:cubicBezTo>
                  <a:cubicBezTo>
                    <a:pt x="1819551" y="351303"/>
                    <a:pt x="1771195" y="294837"/>
                    <a:pt x="1721495" y="276015"/>
                  </a:cubicBezTo>
                  <a:cubicBezTo>
                    <a:pt x="1693287" y="266604"/>
                    <a:pt x="1667765" y="269293"/>
                    <a:pt x="1646273" y="285426"/>
                  </a:cubicBezTo>
                  <a:cubicBezTo>
                    <a:pt x="1592544" y="327103"/>
                    <a:pt x="1614036" y="418525"/>
                    <a:pt x="1631498" y="469613"/>
                  </a:cubicBezTo>
                  <a:lnTo>
                    <a:pt x="1632841" y="474991"/>
                  </a:lnTo>
                  <a:cubicBezTo>
                    <a:pt x="1657020" y="544901"/>
                    <a:pt x="1686571" y="632289"/>
                    <a:pt x="1643587" y="700855"/>
                  </a:cubicBezTo>
                  <a:cubicBezTo>
                    <a:pt x="1619409" y="738499"/>
                    <a:pt x="1579112" y="761355"/>
                    <a:pt x="1529412" y="762699"/>
                  </a:cubicBezTo>
                  <a:cubicBezTo>
                    <a:pt x="1464937" y="765388"/>
                    <a:pt x="1396432" y="731777"/>
                    <a:pt x="1360164" y="680689"/>
                  </a:cubicBezTo>
                  <a:cubicBezTo>
                    <a:pt x="1297032" y="593301"/>
                    <a:pt x="1298375" y="476335"/>
                    <a:pt x="1299719" y="382225"/>
                  </a:cubicBezTo>
                  <a:cubicBezTo>
                    <a:pt x="1301062" y="284081"/>
                    <a:pt x="1297032" y="181905"/>
                    <a:pt x="1240616" y="110649"/>
                  </a:cubicBezTo>
                  <a:cubicBezTo>
                    <a:pt x="1190916" y="48806"/>
                    <a:pt x="1103606" y="20573"/>
                    <a:pt x="1028385" y="42084"/>
                  </a:cubicBezTo>
                  <a:cubicBezTo>
                    <a:pt x="951820" y="63594"/>
                    <a:pt x="892718" y="133505"/>
                    <a:pt x="884658" y="212826"/>
                  </a:cubicBezTo>
                  <a:cubicBezTo>
                    <a:pt x="875256" y="293492"/>
                    <a:pt x="912867" y="367436"/>
                    <a:pt x="951820" y="446757"/>
                  </a:cubicBezTo>
                  <a:cubicBezTo>
                    <a:pt x="963909" y="472302"/>
                    <a:pt x="977342" y="497846"/>
                    <a:pt x="988087" y="523390"/>
                  </a:cubicBezTo>
                  <a:cubicBezTo>
                    <a:pt x="1057936" y="684722"/>
                    <a:pt x="1006893" y="815132"/>
                    <a:pt x="923612" y="854120"/>
                  </a:cubicBezTo>
                  <a:cubicBezTo>
                    <a:pt x="843018" y="893109"/>
                    <a:pt x="753021" y="855465"/>
                    <a:pt x="667054" y="809754"/>
                  </a:cubicBezTo>
                  <a:lnTo>
                    <a:pt x="454823" y="695477"/>
                  </a:lnTo>
                  <a:cubicBezTo>
                    <a:pt x="409153" y="671278"/>
                    <a:pt x="358110" y="643045"/>
                    <a:pt x="304380" y="639011"/>
                  </a:cubicBezTo>
                  <a:cubicBezTo>
                    <a:pt x="226472" y="632289"/>
                    <a:pt x="144535" y="676655"/>
                    <a:pt x="96178" y="751944"/>
                  </a:cubicBezTo>
                  <a:cubicBezTo>
                    <a:pt x="43792" y="832610"/>
                    <a:pt x="37076" y="930753"/>
                    <a:pt x="39762" y="999319"/>
                  </a:cubicBezTo>
                  <a:cubicBezTo>
                    <a:pt x="57225" y="1304505"/>
                    <a:pt x="317812" y="1572047"/>
                    <a:pt x="621384" y="1597591"/>
                  </a:cubicBezTo>
                  <a:cubicBezTo>
                    <a:pt x="791975" y="1612380"/>
                    <a:pt x="962566" y="1555914"/>
                    <a:pt x="1127784" y="1502136"/>
                  </a:cubicBezTo>
                  <a:cubicBezTo>
                    <a:pt x="1160022" y="1491381"/>
                    <a:pt x="1192260" y="1480626"/>
                    <a:pt x="1224497" y="1471215"/>
                  </a:cubicBezTo>
                  <a:cubicBezTo>
                    <a:pt x="1381656" y="1424160"/>
                    <a:pt x="1502547" y="1406682"/>
                    <a:pt x="1596574" y="140668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02" name="Google Shape;202;p9"/>
            <p:cNvSpPr/>
            <p:nvPr/>
          </p:nvSpPr>
          <p:spPr>
            <a:xfrm rot="10800000" flipH="1">
              <a:off x="-459588" y="4205949"/>
              <a:ext cx="2066222" cy="2161334"/>
            </a:xfrm>
            <a:custGeom>
              <a:avLst/>
              <a:gdLst/>
              <a:ahLst/>
              <a:cxnLst/>
              <a:rect l="l" t="t" r="r" b="b"/>
              <a:pathLst>
                <a:path w="2066222" h="2161334" extrusionOk="0">
                  <a:moveTo>
                    <a:pt x="337808" y="2161335"/>
                  </a:moveTo>
                  <a:cubicBezTo>
                    <a:pt x="321689" y="2161335"/>
                    <a:pt x="306913" y="2159990"/>
                    <a:pt x="290794" y="2155957"/>
                  </a:cubicBezTo>
                  <a:cubicBezTo>
                    <a:pt x="216916" y="2139824"/>
                    <a:pt x="149755" y="2086046"/>
                    <a:pt x="86623" y="1989247"/>
                  </a:cubicBezTo>
                  <a:cubicBezTo>
                    <a:pt x="7371" y="1868248"/>
                    <a:pt x="-18150" y="1753972"/>
                    <a:pt x="12745" y="1661206"/>
                  </a:cubicBezTo>
                  <a:cubicBezTo>
                    <a:pt x="67817" y="1495841"/>
                    <a:pt x="269303" y="1448786"/>
                    <a:pt x="383478" y="1435341"/>
                  </a:cubicBezTo>
                  <a:cubicBezTo>
                    <a:pt x="407656" y="1432653"/>
                    <a:pt x="433177" y="1429964"/>
                    <a:pt x="458699" y="1427275"/>
                  </a:cubicBezTo>
                  <a:cubicBezTo>
                    <a:pt x="576904" y="1415175"/>
                    <a:pt x="700482" y="1403075"/>
                    <a:pt x="790479" y="1333165"/>
                  </a:cubicBezTo>
                  <a:cubicBezTo>
                    <a:pt x="817343" y="1312998"/>
                    <a:pt x="836148" y="1290143"/>
                    <a:pt x="845551" y="1267287"/>
                  </a:cubicBezTo>
                  <a:cubicBezTo>
                    <a:pt x="872416" y="1202755"/>
                    <a:pt x="837492" y="1127467"/>
                    <a:pt x="803911" y="1053523"/>
                  </a:cubicBezTo>
                  <a:cubicBezTo>
                    <a:pt x="763614" y="964790"/>
                    <a:pt x="721973" y="873369"/>
                    <a:pt x="782419" y="796736"/>
                  </a:cubicBezTo>
                  <a:cubicBezTo>
                    <a:pt x="842865" y="720104"/>
                    <a:pt x="957040" y="733548"/>
                    <a:pt x="1044350" y="771192"/>
                  </a:cubicBezTo>
                  <a:cubicBezTo>
                    <a:pt x="1059126" y="777914"/>
                    <a:pt x="1073902" y="784636"/>
                    <a:pt x="1088677" y="791359"/>
                  </a:cubicBezTo>
                  <a:cubicBezTo>
                    <a:pt x="1153152" y="820936"/>
                    <a:pt x="1213598" y="850514"/>
                    <a:pt x="1275387" y="839758"/>
                  </a:cubicBezTo>
                  <a:cubicBezTo>
                    <a:pt x="1318371" y="833036"/>
                    <a:pt x="1353295" y="787325"/>
                    <a:pt x="1360011" y="749681"/>
                  </a:cubicBezTo>
                  <a:cubicBezTo>
                    <a:pt x="1364041" y="730859"/>
                    <a:pt x="1362697" y="705315"/>
                    <a:pt x="1337176" y="691871"/>
                  </a:cubicBezTo>
                  <a:cubicBezTo>
                    <a:pt x="1322400" y="683804"/>
                    <a:pt x="1304938" y="681115"/>
                    <a:pt x="1284790" y="678426"/>
                  </a:cubicBezTo>
                  <a:lnTo>
                    <a:pt x="1280760" y="678426"/>
                  </a:lnTo>
                  <a:cubicBezTo>
                    <a:pt x="1181360" y="666326"/>
                    <a:pt x="1111512" y="639438"/>
                    <a:pt x="1059126" y="595072"/>
                  </a:cubicBezTo>
                  <a:cubicBezTo>
                    <a:pt x="998680" y="543983"/>
                    <a:pt x="958383" y="448528"/>
                    <a:pt x="995994" y="366518"/>
                  </a:cubicBezTo>
                  <a:cubicBezTo>
                    <a:pt x="1040321" y="269719"/>
                    <a:pt x="1236433" y="77465"/>
                    <a:pt x="1334489" y="34443"/>
                  </a:cubicBezTo>
                  <a:cubicBezTo>
                    <a:pt x="1486275" y="-30089"/>
                    <a:pt x="1706566" y="-1856"/>
                    <a:pt x="1848949" y="101665"/>
                  </a:cubicBezTo>
                  <a:lnTo>
                    <a:pt x="1848949" y="101665"/>
                  </a:lnTo>
                  <a:cubicBezTo>
                    <a:pt x="2034316" y="236108"/>
                    <a:pt x="2094761" y="502306"/>
                    <a:pt x="1981930" y="682460"/>
                  </a:cubicBezTo>
                  <a:cubicBezTo>
                    <a:pt x="1973870" y="694560"/>
                    <a:pt x="1965811" y="706659"/>
                    <a:pt x="1957751" y="717415"/>
                  </a:cubicBezTo>
                  <a:cubicBezTo>
                    <a:pt x="1941633" y="740270"/>
                    <a:pt x="1926857" y="761781"/>
                    <a:pt x="1916111" y="785981"/>
                  </a:cubicBezTo>
                  <a:cubicBezTo>
                    <a:pt x="1879844" y="876058"/>
                    <a:pt x="1929543" y="968824"/>
                    <a:pt x="1981930" y="1066967"/>
                  </a:cubicBezTo>
                  <a:cubicBezTo>
                    <a:pt x="2034316" y="1165111"/>
                    <a:pt x="2088045" y="1267287"/>
                    <a:pt x="2057151" y="1372153"/>
                  </a:cubicBezTo>
                  <a:cubicBezTo>
                    <a:pt x="2030286" y="1464919"/>
                    <a:pt x="1944319" y="1525418"/>
                    <a:pt x="1858352" y="1577851"/>
                  </a:cubicBezTo>
                  <a:cubicBezTo>
                    <a:pt x="1710596" y="1669272"/>
                    <a:pt x="1538662" y="1752627"/>
                    <a:pt x="1388219" y="1678684"/>
                  </a:cubicBezTo>
                  <a:cubicBezTo>
                    <a:pt x="1358668" y="1663895"/>
                    <a:pt x="1329117" y="1643728"/>
                    <a:pt x="1302252" y="1623562"/>
                  </a:cubicBezTo>
                  <a:cubicBezTo>
                    <a:pt x="1247179" y="1583229"/>
                    <a:pt x="1194793" y="1544241"/>
                    <a:pt x="1138377" y="1561718"/>
                  </a:cubicBezTo>
                  <a:cubicBezTo>
                    <a:pt x="1095393" y="1573818"/>
                    <a:pt x="1067185" y="1616840"/>
                    <a:pt x="1038977" y="1657173"/>
                  </a:cubicBezTo>
                  <a:lnTo>
                    <a:pt x="1034948" y="1662550"/>
                  </a:lnTo>
                  <a:cubicBezTo>
                    <a:pt x="903310" y="1852115"/>
                    <a:pt x="724660" y="2005380"/>
                    <a:pt x="516458" y="2106213"/>
                  </a:cubicBezTo>
                  <a:cubicBezTo>
                    <a:pt x="466758" y="2135791"/>
                    <a:pt x="402283" y="2161335"/>
                    <a:pt x="337808" y="2161335"/>
                  </a:cubicBezTo>
                  <a:close/>
                  <a:moveTo>
                    <a:pt x="911370" y="783292"/>
                  </a:moveTo>
                  <a:cubicBezTo>
                    <a:pt x="872416" y="783292"/>
                    <a:pt x="836148" y="794047"/>
                    <a:pt x="813313" y="823625"/>
                  </a:cubicBezTo>
                  <a:cubicBezTo>
                    <a:pt x="767644" y="881436"/>
                    <a:pt x="801224" y="954035"/>
                    <a:pt x="838835" y="1038734"/>
                  </a:cubicBezTo>
                  <a:cubicBezTo>
                    <a:pt x="876446" y="1119400"/>
                    <a:pt x="914056" y="1204099"/>
                    <a:pt x="880475" y="1284765"/>
                  </a:cubicBezTo>
                  <a:cubicBezTo>
                    <a:pt x="868386" y="1314343"/>
                    <a:pt x="845551" y="1341231"/>
                    <a:pt x="813313" y="1366775"/>
                  </a:cubicBezTo>
                  <a:cubicBezTo>
                    <a:pt x="712571" y="1443408"/>
                    <a:pt x="584963" y="1456852"/>
                    <a:pt x="460042" y="1468952"/>
                  </a:cubicBezTo>
                  <a:cubicBezTo>
                    <a:pt x="435864" y="1471641"/>
                    <a:pt x="410342" y="1474330"/>
                    <a:pt x="386164" y="1477019"/>
                  </a:cubicBezTo>
                  <a:cubicBezTo>
                    <a:pt x="281392" y="1489119"/>
                    <a:pt x="97368" y="1532140"/>
                    <a:pt x="49012" y="1675995"/>
                  </a:cubicBezTo>
                  <a:cubicBezTo>
                    <a:pt x="14088" y="1778172"/>
                    <a:pt x="67817" y="1892448"/>
                    <a:pt x="117517" y="1969081"/>
                  </a:cubicBezTo>
                  <a:cubicBezTo>
                    <a:pt x="173933" y="2056469"/>
                    <a:pt x="233035" y="2104869"/>
                    <a:pt x="296167" y="2118313"/>
                  </a:cubicBezTo>
                  <a:cubicBezTo>
                    <a:pt x="366016" y="2133102"/>
                    <a:pt x="439894" y="2103524"/>
                    <a:pt x="497653" y="2076635"/>
                  </a:cubicBezTo>
                  <a:cubicBezTo>
                    <a:pt x="699138" y="1979836"/>
                    <a:pt x="873759" y="1830604"/>
                    <a:pt x="1000024" y="1646417"/>
                  </a:cubicBezTo>
                  <a:lnTo>
                    <a:pt x="1004053" y="1641040"/>
                  </a:lnTo>
                  <a:cubicBezTo>
                    <a:pt x="1034948" y="1596673"/>
                    <a:pt x="1069872" y="1546929"/>
                    <a:pt x="1124944" y="1529452"/>
                  </a:cubicBezTo>
                  <a:cubicBezTo>
                    <a:pt x="1200166" y="1506596"/>
                    <a:pt x="1263298" y="1553651"/>
                    <a:pt x="1323743" y="1598018"/>
                  </a:cubicBezTo>
                  <a:cubicBezTo>
                    <a:pt x="1349265" y="1616840"/>
                    <a:pt x="1377473" y="1637006"/>
                    <a:pt x="1404338" y="1650451"/>
                  </a:cubicBezTo>
                  <a:cubicBezTo>
                    <a:pt x="1535975" y="1714983"/>
                    <a:pt x="1695820" y="1637006"/>
                    <a:pt x="1835516" y="1550963"/>
                  </a:cubicBezTo>
                  <a:cubicBezTo>
                    <a:pt x="1917454" y="1499874"/>
                    <a:pt x="1992675" y="1447441"/>
                    <a:pt x="2016853" y="1368120"/>
                  </a:cubicBezTo>
                  <a:cubicBezTo>
                    <a:pt x="2043718" y="1278043"/>
                    <a:pt x="1995362" y="1187966"/>
                    <a:pt x="1944319" y="1092511"/>
                  </a:cubicBezTo>
                  <a:cubicBezTo>
                    <a:pt x="1889246" y="990335"/>
                    <a:pt x="1832830" y="884124"/>
                    <a:pt x="1875814" y="776570"/>
                  </a:cubicBezTo>
                  <a:cubicBezTo>
                    <a:pt x="1886560" y="748337"/>
                    <a:pt x="1904022" y="722793"/>
                    <a:pt x="1921484" y="698593"/>
                  </a:cubicBezTo>
                  <a:cubicBezTo>
                    <a:pt x="1929543" y="686493"/>
                    <a:pt x="1937603" y="675737"/>
                    <a:pt x="1944319" y="664982"/>
                  </a:cubicBezTo>
                  <a:cubicBezTo>
                    <a:pt x="2045061" y="504995"/>
                    <a:pt x="1987302" y="257619"/>
                    <a:pt x="1822084" y="137965"/>
                  </a:cubicBezTo>
                  <a:lnTo>
                    <a:pt x="1822084" y="137965"/>
                  </a:lnTo>
                  <a:cubicBezTo>
                    <a:pt x="1690447" y="42510"/>
                    <a:pt x="1486275" y="15621"/>
                    <a:pt x="1346578" y="74776"/>
                  </a:cubicBezTo>
                  <a:cubicBezTo>
                    <a:pt x="1256582" y="113765"/>
                    <a:pt x="1069872" y="296608"/>
                    <a:pt x="1028231" y="386685"/>
                  </a:cubicBezTo>
                  <a:cubicBezTo>
                    <a:pt x="998680" y="451217"/>
                    <a:pt x="1032261" y="526506"/>
                    <a:pt x="1080618" y="568183"/>
                  </a:cubicBezTo>
                  <a:cubicBezTo>
                    <a:pt x="1126288" y="607171"/>
                    <a:pt x="1190763" y="631371"/>
                    <a:pt x="1280760" y="642127"/>
                  </a:cubicBezTo>
                  <a:lnTo>
                    <a:pt x="1284790" y="642127"/>
                  </a:lnTo>
                  <a:cubicBezTo>
                    <a:pt x="1306281" y="644815"/>
                    <a:pt x="1330460" y="647504"/>
                    <a:pt x="1353295" y="659604"/>
                  </a:cubicBezTo>
                  <a:cubicBezTo>
                    <a:pt x="1386876" y="679771"/>
                    <a:pt x="1402995" y="717415"/>
                    <a:pt x="1394935" y="760437"/>
                  </a:cubicBezTo>
                  <a:cubicBezTo>
                    <a:pt x="1385532" y="811525"/>
                    <a:pt x="1341206" y="872024"/>
                    <a:pt x="1276730" y="882780"/>
                  </a:cubicBezTo>
                  <a:cubicBezTo>
                    <a:pt x="1201509" y="894880"/>
                    <a:pt x="1133004" y="862613"/>
                    <a:pt x="1065842" y="831692"/>
                  </a:cubicBezTo>
                  <a:cubicBezTo>
                    <a:pt x="1051066" y="824969"/>
                    <a:pt x="1036291" y="818247"/>
                    <a:pt x="1021515" y="811525"/>
                  </a:cubicBezTo>
                  <a:cubicBezTo>
                    <a:pt x="993307" y="795392"/>
                    <a:pt x="950324" y="783292"/>
                    <a:pt x="911370" y="783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03" name="Google Shape;203;p9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204" name="Google Shape;204;p9"/>
          <p:cNvSpPr txBox="1">
            <a:spLocks noGrp="1"/>
          </p:cNvSpPr>
          <p:nvPr>
            <p:ph type="subTitle" idx="1"/>
          </p:nvPr>
        </p:nvSpPr>
        <p:spPr>
          <a:xfrm>
            <a:off x="1529964" y="3911867"/>
            <a:ext cx="9132000" cy="222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5" name="Google Shape;205;p9"/>
          <p:cNvSpPr txBox="1">
            <a:spLocks noGrp="1"/>
          </p:cNvSpPr>
          <p:nvPr>
            <p:ph type="subTitle" idx="2"/>
          </p:nvPr>
        </p:nvSpPr>
        <p:spPr>
          <a:xfrm>
            <a:off x="1530000" y="1545891"/>
            <a:ext cx="9132000" cy="2226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b="0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2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7" name="Google Shape;207;p10"/>
          <p:cNvSpPr>
            <a:spLocks noGrp="1"/>
          </p:cNvSpPr>
          <p:nvPr>
            <p:ph type="pic" idx="2"/>
          </p:nvPr>
        </p:nvSpPr>
        <p:spPr>
          <a:xfrm>
            <a:off x="-33" y="-18300"/>
            <a:ext cx="12192000" cy="6876400"/>
          </a:xfrm>
          <a:prstGeom prst="rect">
            <a:avLst/>
          </a:prstGeom>
          <a:noFill/>
          <a:ln>
            <a:noFill/>
          </a:ln>
        </p:spPr>
      </p:sp>
      <p:sp>
        <p:nvSpPr>
          <p:cNvPr id="208" name="Google Shape;208;p10"/>
          <p:cNvSpPr txBox="1">
            <a:spLocks noGrp="1"/>
          </p:cNvSpPr>
          <p:nvPr>
            <p:ph type="title"/>
          </p:nvPr>
        </p:nvSpPr>
        <p:spPr>
          <a:xfrm>
            <a:off x="1402833" y="1469835"/>
            <a:ext cx="5376800" cy="1629200"/>
          </a:xfrm>
          <a:prstGeom prst="rect">
            <a:avLst/>
          </a:prstGeom>
          <a:solidFill>
            <a:schemeClr val="lt1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2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10" name="Google Shape;210;p11"/>
          <p:cNvGrpSpPr/>
          <p:nvPr/>
        </p:nvGrpSpPr>
        <p:grpSpPr>
          <a:xfrm rot="10800000">
            <a:off x="-2174632" y="-713099"/>
            <a:ext cx="13865805" cy="9479748"/>
            <a:chOff x="-125101" y="-1221909"/>
            <a:chExt cx="10399354" cy="7109811"/>
          </a:xfrm>
        </p:grpSpPr>
        <p:sp>
          <p:nvSpPr>
            <p:cNvPr id="211" name="Google Shape;211;p11"/>
            <p:cNvSpPr/>
            <p:nvPr/>
          </p:nvSpPr>
          <p:spPr>
            <a:xfrm rot="-1840136">
              <a:off x="7403389" y="3080058"/>
              <a:ext cx="2493993" cy="2161597"/>
            </a:xfrm>
            <a:custGeom>
              <a:avLst/>
              <a:gdLst/>
              <a:ahLst/>
              <a:cxnLst/>
              <a:rect l="l" t="t" r="r" b="b"/>
              <a:pathLst>
                <a:path w="2494367" h="2161921" extrusionOk="0">
                  <a:moveTo>
                    <a:pt x="2088477" y="49721"/>
                  </a:moveTo>
                  <a:cubicBezTo>
                    <a:pt x="1970273" y="-21533"/>
                    <a:pt x="1798338" y="-21533"/>
                    <a:pt x="1712371" y="84677"/>
                  </a:cubicBezTo>
                  <a:cubicBezTo>
                    <a:pt x="1685506" y="118287"/>
                    <a:pt x="1665358" y="162654"/>
                    <a:pt x="1626404" y="180131"/>
                  </a:cubicBezTo>
                  <a:cubicBezTo>
                    <a:pt x="1591480" y="194920"/>
                    <a:pt x="1551183" y="185509"/>
                    <a:pt x="1513572" y="177442"/>
                  </a:cubicBezTo>
                  <a:cubicBezTo>
                    <a:pt x="1368502" y="146521"/>
                    <a:pt x="1208657" y="151898"/>
                    <a:pt x="1085079" y="232564"/>
                  </a:cubicBezTo>
                  <a:cubicBezTo>
                    <a:pt x="961502" y="313230"/>
                    <a:pt x="887624" y="482629"/>
                    <a:pt x="949413" y="617072"/>
                  </a:cubicBezTo>
                  <a:cubicBezTo>
                    <a:pt x="962845" y="647994"/>
                    <a:pt x="982994" y="674882"/>
                    <a:pt x="995082" y="707149"/>
                  </a:cubicBezTo>
                  <a:cubicBezTo>
                    <a:pt x="1068960" y="903436"/>
                    <a:pt x="820462" y="1146778"/>
                    <a:pt x="952099" y="1308110"/>
                  </a:cubicBezTo>
                  <a:cubicBezTo>
                    <a:pt x="1020604" y="1391465"/>
                    <a:pt x="1158958" y="1383398"/>
                    <a:pt x="1240895" y="1313487"/>
                  </a:cubicBezTo>
                  <a:cubicBezTo>
                    <a:pt x="1321489" y="1243577"/>
                    <a:pt x="1353727" y="1130645"/>
                    <a:pt x="1359100" y="1023090"/>
                  </a:cubicBezTo>
                  <a:cubicBezTo>
                    <a:pt x="1364473" y="910158"/>
                    <a:pt x="1340294" y="787815"/>
                    <a:pt x="1255671" y="712527"/>
                  </a:cubicBezTo>
                  <a:cubicBezTo>
                    <a:pt x="1210000" y="672194"/>
                    <a:pt x="1148212" y="642616"/>
                    <a:pt x="1129406" y="584805"/>
                  </a:cubicBezTo>
                  <a:cubicBezTo>
                    <a:pt x="1098512" y="490695"/>
                    <a:pt x="1224776" y="404652"/>
                    <a:pt x="1318803" y="436918"/>
                  </a:cubicBezTo>
                  <a:cubicBezTo>
                    <a:pt x="1412830" y="469184"/>
                    <a:pt x="1463872" y="570017"/>
                    <a:pt x="1489393" y="665471"/>
                  </a:cubicBezTo>
                  <a:cubicBezTo>
                    <a:pt x="1561929" y="943769"/>
                    <a:pt x="1475961" y="1258366"/>
                    <a:pt x="1271790" y="1461375"/>
                  </a:cubicBezTo>
                  <a:cubicBezTo>
                    <a:pt x="1248955" y="1484230"/>
                    <a:pt x="1223433" y="1505741"/>
                    <a:pt x="1192538" y="1515152"/>
                  </a:cubicBezTo>
                  <a:cubicBezTo>
                    <a:pt x="1114631" y="1538008"/>
                    <a:pt x="1042096" y="1472131"/>
                    <a:pt x="973591" y="1427764"/>
                  </a:cubicBezTo>
                  <a:cubicBezTo>
                    <a:pt x="831207" y="1334998"/>
                    <a:pt x="636438" y="1326932"/>
                    <a:pt x="485996" y="1407598"/>
                  </a:cubicBezTo>
                  <a:cubicBezTo>
                    <a:pt x="440326" y="1290632"/>
                    <a:pt x="479280" y="1146778"/>
                    <a:pt x="577336" y="1068801"/>
                  </a:cubicBezTo>
                  <a:cubicBezTo>
                    <a:pt x="614947" y="1037879"/>
                    <a:pt x="661960" y="1016368"/>
                    <a:pt x="684795" y="973346"/>
                  </a:cubicBezTo>
                  <a:cubicBezTo>
                    <a:pt x="722406" y="904780"/>
                    <a:pt x="680766" y="816048"/>
                    <a:pt x="618976" y="767648"/>
                  </a:cubicBezTo>
                  <a:cubicBezTo>
                    <a:pt x="490026" y="665471"/>
                    <a:pt x="289883" y="685638"/>
                    <a:pt x="164962" y="793192"/>
                  </a:cubicBezTo>
                  <a:cubicBezTo>
                    <a:pt x="40041" y="900747"/>
                    <a:pt x="-12345" y="1075523"/>
                    <a:pt x="2431" y="1239544"/>
                  </a:cubicBezTo>
                  <a:cubicBezTo>
                    <a:pt x="17206" y="1403564"/>
                    <a:pt x="93771" y="1556830"/>
                    <a:pt x="190484" y="1689928"/>
                  </a:cubicBezTo>
                  <a:cubicBezTo>
                    <a:pt x="357045" y="1921171"/>
                    <a:pt x="601514" y="2108047"/>
                    <a:pt x="882251" y="2156446"/>
                  </a:cubicBezTo>
                  <a:cubicBezTo>
                    <a:pt x="919862" y="2163168"/>
                    <a:pt x="961502" y="2165857"/>
                    <a:pt x="993740" y="2147035"/>
                  </a:cubicBezTo>
                  <a:cubicBezTo>
                    <a:pt x="1025977" y="2128213"/>
                    <a:pt x="1043439" y="2093258"/>
                    <a:pt x="1062244" y="2060991"/>
                  </a:cubicBezTo>
                  <a:cubicBezTo>
                    <a:pt x="1113287" y="1973603"/>
                    <a:pt x="1187165" y="1901004"/>
                    <a:pt x="1275819" y="1851260"/>
                  </a:cubicBezTo>
                  <a:cubicBezTo>
                    <a:pt x="1320146" y="1825716"/>
                    <a:pt x="1367159" y="1806894"/>
                    <a:pt x="1406113" y="1773283"/>
                  </a:cubicBezTo>
                  <a:cubicBezTo>
                    <a:pt x="1467902" y="1720850"/>
                    <a:pt x="1497453" y="1640184"/>
                    <a:pt x="1524318" y="1563552"/>
                  </a:cubicBezTo>
                  <a:cubicBezTo>
                    <a:pt x="1607599" y="1328276"/>
                    <a:pt x="1690879" y="1093001"/>
                    <a:pt x="1774160" y="856380"/>
                  </a:cubicBezTo>
                  <a:cubicBezTo>
                    <a:pt x="1862814" y="869825"/>
                    <a:pt x="1884305" y="994857"/>
                    <a:pt x="1848038" y="1076868"/>
                  </a:cubicBezTo>
                  <a:cubicBezTo>
                    <a:pt x="1813114" y="1158878"/>
                    <a:pt x="1744608" y="1228788"/>
                    <a:pt x="1729833" y="1317521"/>
                  </a:cubicBezTo>
                  <a:cubicBezTo>
                    <a:pt x="1715058" y="1407598"/>
                    <a:pt x="1760727" y="1501708"/>
                    <a:pt x="1737892" y="1590440"/>
                  </a:cubicBezTo>
                  <a:cubicBezTo>
                    <a:pt x="1715058" y="1677828"/>
                    <a:pt x="1633120" y="1735639"/>
                    <a:pt x="1555212" y="1781350"/>
                  </a:cubicBezTo>
                  <a:cubicBezTo>
                    <a:pt x="1477305" y="1827060"/>
                    <a:pt x="1392681" y="1876805"/>
                    <a:pt x="1356413" y="1960159"/>
                  </a:cubicBezTo>
                  <a:cubicBezTo>
                    <a:pt x="1320146" y="2043514"/>
                    <a:pt x="1371189" y="2165857"/>
                    <a:pt x="1461186" y="2161824"/>
                  </a:cubicBezTo>
                  <a:cubicBezTo>
                    <a:pt x="1488050" y="2160479"/>
                    <a:pt x="1513572" y="2147035"/>
                    <a:pt x="1537750" y="2134935"/>
                  </a:cubicBezTo>
                  <a:cubicBezTo>
                    <a:pt x="1688193" y="2058303"/>
                    <a:pt x="1842665" y="1978981"/>
                    <a:pt x="1948781" y="1847227"/>
                  </a:cubicBezTo>
                  <a:cubicBezTo>
                    <a:pt x="2041464" y="1732950"/>
                    <a:pt x="2088477" y="1589096"/>
                    <a:pt x="2165042" y="1464064"/>
                  </a:cubicBezTo>
                  <a:cubicBezTo>
                    <a:pt x="2234890" y="1351132"/>
                    <a:pt x="2327573" y="1254332"/>
                    <a:pt x="2393392" y="1140056"/>
                  </a:cubicBezTo>
                  <a:cubicBezTo>
                    <a:pt x="2612340" y="760926"/>
                    <a:pt x="2459211" y="271553"/>
                    <a:pt x="2088477" y="49721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12" name="Google Shape;212;p11"/>
            <p:cNvGrpSpPr/>
            <p:nvPr/>
          </p:nvGrpSpPr>
          <p:grpSpPr>
            <a:xfrm>
              <a:off x="-125101" y="-1221909"/>
              <a:ext cx="4567267" cy="7109811"/>
              <a:chOff x="-125101" y="-1221909"/>
              <a:chExt cx="4567267" cy="7109811"/>
            </a:xfrm>
          </p:grpSpPr>
          <p:grpSp>
            <p:nvGrpSpPr>
              <p:cNvPr id="213" name="Google Shape;213;p11"/>
              <p:cNvGrpSpPr/>
              <p:nvPr/>
            </p:nvGrpSpPr>
            <p:grpSpPr>
              <a:xfrm>
                <a:off x="2502329" y="-1221909"/>
                <a:ext cx="1939837" cy="1944233"/>
                <a:chOff x="1770054" y="3336266"/>
                <a:chExt cx="1939837" cy="1944233"/>
              </a:xfrm>
            </p:grpSpPr>
            <p:sp>
              <p:nvSpPr>
                <p:cNvPr id="214" name="Google Shape;214;p11"/>
                <p:cNvSpPr/>
                <p:nvPr/>
              </p:nvSpPr>
              <p:spPr>
                <a:xfrm>
                  <a:off x="2019896" y="3462828"/>
                  <a:ext cx="1278761" cy="15057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78761" h="1505763" extrusionOk="0">
                      <a:moveTo>
                        <a:pt x="789823" y="613061"/>
                      </a:moveTo>
                      <a:cubicBezTo>
                        <a:pt x="953698" y="426185"/>
                        <a:pt x="1117573" y="239309"/>
                        <a:pt x="1278761" y="51088"/>
                      </a:cubicBezTo>
                      <a:cubicBezTo>
                        <a:pt x="1251897" y="32266"/>
                        <a:pt x="1225032" y="14788"/>
                        <a:pt x="1196824" y="0"/>
                      </a:cubicBezTo>
                      <a:cubicBezTo>
                        <a:pt x="1194137" y="2689"/>
                        <a:pt x="1191451" y="6722"/>
                        <a:pt x="1188765" y="9411"/>
                      </a:cubicBezTo>
                      <a:cubicBezTo>
                        <a:pt x="964444" y="286364"/>
                        <a:pt x="738780" y="564661"/>
                        <a:pt x="517146" y="845648"/>
                      </a:cubicBezTo>
                      <a:cubicBezTo>
                        <a:pt x="345212" y="1063445"/>
                        <a:pt x="171934" y="1281243"/>
                        <a:pt x="0" y="1499042"/>
                      </a:cubicBezTo>
                      <a:cubicBezTo>
                        <a:pt x="1343" y="1501730"/>
                        <a:pt x="4030" y="1503075"/>
                        <a:pt x="5373" y="1505764"/>
                      </a:cubicBezTo>
                      <a:cubicBezTo>
                        <a:pt x="261931" y="1203267"/>
                        <a:pt x="529235" y="911525"/>
                        <a:pt x="789823" y="61306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5" name="Google Shape;215;p11"/>
                <p:cNvSpPr/>
                <p:nvPr/>
              </p:nvSpPr>
              <p:spPr>
                <a:xfrm>
                  <a:off x="1802292" y="3336266"/>
                  <a:ext cx="1027576" cy="1254540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027576" h="1254540" extrusionOk="0">
                      <a:moveTo>
                        <a:pt x="25522" y="1230341"/>
                      </a:moveTo>
                      <a:cubicBezTo>
                        <a:pt x="323720" y="863311"/>
                        <a:pt x="623262" y="497626"/>
                        <a:pt x="922804" y="131940"/>
                      </a:cubicBezTo>
                      <a:cubicBezTo>
                        <a:pt x="957728" y="88918"/>
                        <a:pt x="992652" y="45897"/>
                        <a:pt x="1027576" y="4219"/>
                      </a:cubicBezTo>
                      <a:cubicBezTo>
                        <a:pt x="973847" y="-1158"/>
                        <a:pt x="920117" y="-1158"/>
                        <a:pt x="866388" y="2875"/>
                      </a:cubicBezTo>
                      <a:cubicBezTo>
                        <a:pt x="757585" y="164207"/>
                        <a:pt x="646097" y="322849"/>
                        <a:pt x="534608" y="482837"/>
                      </a:cubicBezTo>
                      <a:cubicBezTo>
                        <a:pt x="358644" y="734246"/>
                        <a:pt x="182680" y="985655"/>
                        <a:pt x="0" y="1233030"/>
                      </a:cubicBezTo>
                      <a:cubicBezTo>
                        <a:pt x="1343" y="1239752"/>
                        <a:pt x="4030" y="1247819"/>
                        <a:pt x="6716" y="1254541"/>
                      </a:cubicBezTo>
                      <a:cubicBezTo>
                        <a:pt x="13432" y="1245130"/>
                        <a:pt x="18805" y="1238408"/>
                        <a:pt x="25522" y="1230341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6" name="Google Shape;216;p11"/>
                <p:cNvSpPr/>
                <p:nvPr/>
              </p:nvSpPr>
              <p:spPr>
                <a:xfrm>
                  <a:off x="1877513" y="3355274"/>
                  <a:ext cx="1250553" cy="145736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250553" h="1457363" extrusionOk="0">
                      <a:moveTo>
                        <a:pt x="1250553" y="61844"/>
                      </a:moveTo>
                      <a:cubicBezTo>
                        <a:pt x="1187421" y="33611"/>
                        <a:pt x="1120259" y="13444"/>
                        <a:pt x="1053098" y="0"/>
                      </a:cubicBezTo>
                      <a:cubicBezTo>
                        <a:pt x="796539" y="337452"/>
                        <a:pt x="537295" y="673560"/>
                        <a:pt x="286109" y="1015046"/>
                      </a:cubicBezTo>
                      <a:cubicBezTo>
                        <a:pt x="190740" y="1144111"/>
                        <a:pt x="92683" y="1271832"/>
                        <a:pt x="0" y="1403587"/>
                      </a:cubicBezTo>
                      <a:cubicBezTo>
                        <a:pt x="9403" y="1422409"/>
                        <a:pt x="20149" y="1439886"/>
                        <a:pt x="30894" y="1457364"/>
                      </a:cubicBezTo>
                      <a:cubicBezTo>
                        <a:pt x="55073" y="1429131"/>
                        <a:pt x="77908" y="1400898"/>
                        <a:pt x="102086" y="1372665"/>
                      </a:cubicBezTo>
                      <a:cubicBezTo>
                        <a:pt x="427149" y="982779"/>
                        <a:pt x="765645" y="606338"/>
                        <a:pt x="1102797" y="227209"/>
                      </a:cubicBezTo>
                      <a:cubicBezTo>
                        <a:pt x="1151154" y="172087"/>
                        <a:pt x="1200854" y="116965"/>
                        <a:pt x="1250553" y="6184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7" name="Google Shape;217;p11"/>
                <p:cNvSpPr/>
                <p:nvPr/>
              </p:nvSpPr>
              <p:spPr>
                <a:xfrm>
                  <a:off x="1770054" y="3383507"/>
                  <a:ext cx="667588" cy="8631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588" h="863125" extrusionOk="0">
                      <a:moveTo>
                        <a:pt x="373420" y="383163"/>
                      </a:moveTo>
                      <a:cubicBezTo>
                        <a:pt x="472819" y="256787"/>
                        <a:pt x="569532" y="129066"/>
                        <a:pt x="667589" y="0"/>
                      </a:cubicBezTo>
                      <a:cubicBezTo>
                        <a:pt x="533265" y="43022"/>
                        <a:pt x="407001" y="116966"/>
                        <a:pt x="298199" y="220487"/>
                      </a:cubicBezTo>
                      <a:cubicBezTo>
                        <a:pt x="288796" y="237965"/>
                        <a:pt x="280736" y="258131"/>
                        <a:pt x="269991" y="275609"/>
                      </a:cubicBezTo>
                      <a:cubicBezTo>
                        <a:pt x="256558" y="297120"/>
                        <a:pt x="240439" y="317286"/>
                        <a:pt x="227007" y="337452"/>
                      </a:cubicBezTo>
                      <a:cubicBezTo>
                        <a:pt x="182680" y="399296"/>
                        <a:pt x="145070" y="463829"/>
                        <a:pt x="107459" y="529706"/>
                      </a:cubicBezTo>
                      <a:cubicBezTo>
                        <a:pt x="89997" y="560628"/>
                        <a:pt x="69848" y="586172"/>
                        <a:pt x="48357" y="613061"/>
                      </a:cubicBezTo>
                      <a:cubicBezTo>
                        <a:pt x="21492" y="693727"/>
                        <a:pt x="4030" y="778426"/>
                        <a:pt x="0" y="863125"/>
                      </a:cubicBezTo>
                      <a:cubicBezTo>
                        <a:pt x="124921" y="703138"/>
                        <a:pt x="248499" y="543151"/>
                        <a:pt x="373420" y="383163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8" name="Google Shape;218;p11"/>
                <p:cNvSpPr/>
                <p:nvPr/>
              </p:nvSpPr>
              <p:spPr>
                <a:xfrm>
                  <a:off x="3035383" y="4432163"/>
                  <a:ext cx="667588" cy="80262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67588" h="802625" extrusionOk="0">
                      <a:moveTo>
                        <a:pt x="591024" y="274264"/>
                      </a:moveTo>
                      <a:cubicBezTo>
                        <a:pt x="629978" y="186876"/>
                        <a:pt x="655499" y="94110"/>
                        <a:pt x="667589" y="0"/>
                      </a:cubicBezTo>
                      <a:cubicBezTo>
                        <a:pt x="642067" y="32267"/>
                        <a:pt x="615202" y="63188"/>
                        <a:pt x="589681" y="95455"/>
                      </a:cubicBezTo>
                      <a:cubicBezTo>
                        <a:pt x="398941" y="326697"/>
                        <a:pt x="210888" y="560628"/>
                        <a:pt x="13432" y="786493"/>
                      </a:cubicBezTo>
                      <a:cubicBezTo>
                        <a:pt x="9403" y="791871"/>
                        <a:pt x="4030" y="797248"/>
                        <a:pt x="0" y="802626"/>
                      </a:cubicBezTo>
                      <a:cubicBezTo>
                        <a:pt x="38954" y="790526"/>
                        <a:pt x="77908" y="775737"/>
                        <a:pt x="114175" y="758260"/>
                      </a:cubicBezTo>
                      <a:cubicBezTo>
                        <a:pt x="271334" y="595584"/>
                        <a:pt x="431179" y="435596"/>
                        <a:pt x="591024" y="27426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19" name="Google Shape;219;p11"/>
                <p:cNvSpPr/>
                <p:nvPr/>
              </p:nvSpPr>
              <p:spPr>
                <a:xfrm>
                  <a:off x="2206606" y="3565005"/>
                  <a:ext cx="1316371" cy="1589118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16371" h="1589118" extrusionOk="0">
                      <a:moveTo>
                        <a:pt x="1316372" y="168054"/>
                      </a:moveTo>
                      <a:cubicBezTo>
                        <a:pt x="1288164" y="129066"/>
                        <a:pt x="1255926" y="91422"/>
                        <a:pt x="1219659" y="56466"/>
                      </a:cubicBezTo>
                      <a:cubicBezTo>
                        <a:pt x="1199510" y="36300"/>
                        <a:pt x="1179362" y="18822"/>
                        <a:pt x="1159213" y="0"/>
                      </a:cubicBezTo>
                      <a:cubicBezTo>
                        <a:pt x="924147" y="329386"/>
                        <a:pt x="682364" y="653394"/>
                        <a:pt x="437895" y="976058"/>
                      </a:cubicBezTo>
                      <a:cubicBezTo>
                        <a:pt x="291482" y="1169656"/>
                        <a:pt x="145070" y="1363254"/>
                        <a:pt x="0" y="1556852"/>
                      </a:cubicBezTo>
                      <a:cubicBezTo>
                        <a:pt x="17462" y="1567608"/>
                        <a:pt x="34924" y="1578363"/>
                        <a:pt x="52386" y="1589119"/>
                      </a:cubicBezTo>
                      <a:cubicBezTo>
                        <a:pt x="222977" y="1394176"/>
                        <a:pt x="390882" y="1196544"/>
                        <a:pt x="562816" y="1002946"/>
                      </a:cubicBezTo>
                      <a:cubicBezTo>
                        <a:pt x="811315" y="721960"/>
                        <a:pt x="1062500" y="445007"/>
                        <a:pt x="1316372" y="16805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0" name="Google Shape;220;p11"/>
                <p:cNvSpPr/>
                <p:nvPr/>
              </p:nvSpPr>
              <p:spPr>
                <a:xfrm>
                  <a:off x="2754646" y="4141766"/>
                  <a:ext cx="955245" cy="1138733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55245" h="1138733" extrusionOk="0">
                      <a:moveTo>
                        <a:pt x="0" y="1138734"/>
                      </a:moveTo>
                      <a:cubicBezTo>
                        <a:pt x="18805" y="1138734"/>
                        <a:pt x="37611" y="1137389"/>
                        <a:pt x="56416" y="1136045"/>
                      </a:cubicBezTo>
                      <a:cubicBezTo>
                        <a:pt x="255215" y="924969"/>
                        <a:pt x="455357" y="715238"/>
                        <a:pt x="652813" y="502817"/>
                      </a:cubicBezTo>
                      <a:cubicBezTo>
                        <a:pt x="753556" y="395263"/>
                        <a:pt x="854299" y="287708"/>
                        <a:pt x="955041" y="180154"/>
                      </a:cubicBezTo>
                      <a:cubicBezTo>
                        <a:pt x="956384" y="119654"/>
                        <a:pt x="951012" y="60499"/>
                        <a:pt x="941609" y="0"/>
                      </a:cubicBezTo>
                      <a:cubicBezTo>
                        <a:pt x="719975" y="275609"/>
                        <a:pt x="496998" y="548528"/>
                        <a:pt x="268647" y="818759"/>
                      </a:cubicBezTo>
                      <a:cubicBezTo>
                        <a:pt x="178651" y="926313"/>
                        <a:pt x="89997" y="1032523"/>
                        <a:pt x="0" y="1138734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1" name="Google Shape;221;p11"/>
                <p:cNvSpPr/>
                <p:nvPr/>
              </p:nvSpPr>
              <p:spPr>
                <a:xfrm>
                  <a:off x="2508834" y="3868847"/>
                  <a:ext cx="1167272" cy="139283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167272" h="1392831" extrusionOk="0">
                      <a:moveTo>
                        <a:pt x="663559" y="716582"/>
                      </a:moveTo>
                      <a:cubicBezTo>
                        <a:pt x="832807" y="539117"/>
                        <a:pt x="1000711" y="358963"/>
                        <a:pt x="1167273" y="178810"/>
                      </a:cubicBezTo>
                      <a:cubicBezTo>
                        <a:pt x="1149811" y="116966"/>
                        <a:pt x="1126976" y="57811"/>
                        <a:pt x="1097424" y="0"/>
                      </a:cubicBezTo>
                      <a:cubicBezTo>
                        <a:pt x="936236" y="205698"/>
                        <a:pt x="772361" y="410052"/>
                        <a:pt x="609829" y="614406"/>
                      </a:cubicBezTo>
                      <a:cubicBezTo>
                        <a:pt x="405657" y="869848"/>
                        <a:pt x="202829" y="1127978"/>
                        <a:pt x="0" y="1384765"/>
                      </a:cubicBezTo>
                      <a:cubicBezTo>
                        <a:pt x="13432" y="1387454"/>
                        <a:pt x="25522" y="1390142"/>
                        <a:pt x="38954" y="1392831"/>
                      </a:cubicBezTo>
                      <a:cubicBezTo>
                        <a:pt x="243126" y="1164278"/>
                        <a:pt x="451328" y="939758"/>
                        <a:pt x="663559" y="716582"/>
                      </a:cubicBezTo>
                      <a:close/>
                    </a:path>
                  </a:pathLst>
                </a:custGeom>
                <a:solidFill>
                  <a:schemeClr val="dk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  <p:grpSp>
            <p:nvGrpSpPr>
              <p:cNvPr id="222" name="Google Shape;222;p11"/>
              <p:cNvGrpSpPr/>
              <p:nvPr/>
            </p:nvGrpSpPr>
            <p:grpSpPr>
              <a:xfrm>
                <a:off x="-125101" y="4169719"/>
                <a:ext cx="1714977" cy="1718183"/>
                <a:chOff x="6050949" y="622044"/>
                <a:chExt cx="1714977" cy="1718183"/>
              </a:xfrm>
            </p:grpSpPr>
            <p:sp>
              <p:nvSpPr>
                <p:cNvPr id="223" name="Google Shape;223;p11"/>
                <p:cNvSpPr/>
                <p:nvPr/>
              </p:nvSpPr>
              <p:spPr>
                <a:xfrm>
                  <a:off x="6503620" y="623388"/>
                  <a:ext cx="298198" cy="20184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98198" h="201842" extrusionOk="0">
                      <a:moveTo>
                        <a:pt x="213575" y="120999"/>
                      </a:moveTo>
                      <a:cubicBezTo>
                        <a:pt x="243126" y="82010"/>
                        <a:pt x="269991" y="40333"/>
                        <a:pt x="298199" y="0"/>
                      </a:cubicBezTo>
                      <a:cubicBezTo>
                        <a:pt x="192083" y="13444"/>
                        <a:pt x="91340" y="45711"/>
                        <a:pt x="0" y="92766"/>
                      </a:cubicBezTo>
                      <a:cubicBezTo>
                        <a:pt x="14776" y="122343"/>
                        <a:pt x="30895" y="150576"/>
                        <a:pt x="53729" y="173432"/>
                      </a:cubicBezTo>
                      <a:cubicBezTo>
                        <a:pt x="118205" y="239309"/>
                        <a:pt x="171935" y="177465"/>
                        <a:pt x="213575" y="120999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4" name="Google Shape;224;p11"/>
                <p:cNvSpPr/>
                <p:nvPr/>
              </p:nvSpPr>
              <p:spPr>
                <a:xfrm>
                  <a:off x="6221540" y="622044"/>
                  <a:ext cx="993995" cy="55528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93995" h="555282" extrusionOk="0">
                      <a:moveTo>
                        <a:pt x="0" y="332075"/>
                      </a:moveTo>
                      <a:cubicBezTo>
                        <a:pt x="9403" y="419463"/>
                        <a:pt x="88654" y="496095"/>
                        <a:pt x="173278" y="525673"/>
                      </a:cubicBezTo>
                      <a:cubicBezTo>
                        <a:pt x="303572" y="572728"/>
                        <a:pt x="467447" y="559284"/>
                        <a:pt x="596397" y="516262"/>
                      </a:cubicBezTo>
                      <a:cubicBezTo>
                        <a:pt x="741467" y="467862"/>
                        <a:pt x="801912" y="357619"/>
                        <a:pt x="869074" y="229898"/>
                      </a:cubicBezTo>
                      <a:cubicBezTo>
                        <a:pt x="903999" y="164021"/>
                        <a:pt x="944296" y="103521"/>
                        <a:pt x="993995" y="52433"/>
                      </a:cubicBezTo>
                      <a:cubicBezTo>
                        <a:pt x="925490" y="25544"/>
                        <a:pt x="852955" y="8067"/>
                        <a:pt x="776391" y="0"/>
                      </a:cubicBezTo>
                      <a:cubicBezTo>
                        <a:pt x="728034" y="71255"/>
                        <a:pt x="681021" y="145199"/>
                        <a:pt x="629978" y="215109"/>
                      </a:cubicBezTo>
                      <a:cubicBezTo>
                        <a:pt x="564159" y="305186"/>
                        <a:pt x="470133" y="395263"/>
                        <a:pt x="347899" y="367030"/>
                      </a:cubicBezTo>
                      <a:cubicBezTo>
                        <a:pt x="244469" y="344175"/>
                        <a:pt x="193426" y="264853"/>
                        <a:pt x="147756" y="182843"/>
                      </a:cubicBezTo>
                      <a:cubicBezTo>
                        <a:pt x="92684" y="225864"/>
                        <a:pt x="42984" y="276953"/>
                        <a:pt x="0" y="332075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5" name="Google Shape;225;p11"/>
                <p:cNvSpPr/>
                <p:nvPr/>
              </p:nvSpPr>
              <p:spPr>
                <a:xfrm>
                  <a:off x="6057665" y="1383866"/>
                  <a:ext cx="1708261" cy="75763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708261" h="757632" extrusionOk="0">
                      <a:moveTo>
                        <a:pt x="1707254" y="47526"/>
                      </a:moveTo>
                      <a:cubicBezTo>
                        <a:pt x="1687105" y="44837"/>
                        <a:pt x="1666957" y="40804"/>
                        <a:pt x="1646808" y="38115"/>
                      </a:cubicBezTo>
                      <a:cubicBezTo>
                        <a:pt x="1515171" y="15260"/>
                        <a:pt x="1341893" y="-43895"/>
                        <a:pt x="1229062" y="56937"/>
                      </a:cubicBezTo>
                      <a:cubicBezTo>
                        <a:pt x="1135035" y="141636"/>
                        <a:pt x="1096081" y="272046"/>
                        <a:pt x="995338" y="354056"/>
                      </a:cubicBezTo>
                      <a:cubicBezTo>
                        <a:pt x="887880" y="441445"/>
                        <a:pt x="748183" y="477744"/>
                        <a:pt x="611173" y="472366"/>
                      </a:cubicBezTo>
                      <a:cubicBezTo>
                        <a:pt x="393568" y="464300"/>
                        <a:pt x="169248" y="391701"/>
                        <a:pt x="0" y="253224"/>
                      </a:cubicBezTo>
                      <a:cubicBezTo>
                        <a:pt x="14776" y="331201"/>
                        <a:pt x="38954" y="406489"/>
                        <a:pt x="73878" y="476400"/>
                      </a:cubicBezTo>
                      <a:cubicBezTo>
                        <a:pt x="194769" y="515388"/>
                        <a:pt x="307601" y="585299"/>
                        <a:pt x="419090" y="648487"/>
                      </a:cubicBezTo>
                      <a:cubicBezTo>
                        <a:pt x="510430" y="699576"/>
                        <a:pt x="608486" y="753353"/>
                        <a:pt x="714602" y="757386"/>
                      </a:cubicBezTo>
                      <a:cubicBezTo>
                        <a:pt x="850269" y="762764"/>
                        <a:pt x="964444" y="679409"/>
                        <a:pt x="1055784" y="586643"/>
                      </a:cubicBezTo>
                      <a:cubicBezTo>
                        <a:pt x="1212943" y="428000"/>
                        <a:pt x="1418458" y="94581"/>
                        <a:pt x="1687105" y="196758"/>
                      </a:cubicBezTo>
                      <a:cubicBezTo>
                        <a:pt x="1691135" y="198102"/>
                        <a:pt x="1696508" y="200791"/>
                        <a:pt x="1700538" y="202136"/>
                      </a:cubicBezTo>
                      <a:cubicBezTo>
                        <a:pt x="1704567" y="167180"/>
                        <a:pt x="1707254" y="132225"/>
                        <a:pt x="1707254" y="95926"/>
                      </a:cubicBezTo>
                      <a:cubicBezTo>
                        <a:pt x="1708597" y="78448"/>
                        <a:pt x="1708597" y="63659"/>
                        <a:pt x="1707254" y="47526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6" name="Google Shape;226;p11"/>
                <p:cNvSpPr/>
                <p:nvPr/>
              </p:nvSpPr>
              <p:spPr>
                <a:xfrm>
                  <a:off x="6050949" y="756487"/>
                  <a:ext cx="1688448" cy="93572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688448" h="935722" extrusionOk="0">
                      <a:moveTo>
                        <a:pt x="247155" y="840270"/>
                      </a:moveTo>
                      <a:cubicBezTo>
                        <a:pt x="381479" y="899425"/>
                        <a:pt x="544011" y="947824"/>
                        <a:pt x="691767" y="933036"/>
                      </a:cubicBezTo>
                      <a:cubicBezTo>
                        <a:pt x="838180" y="919591"/>
                        <a:pt x="925490" y="841614"/>
                        <a:pt x="1002055" y="723304"/>
                      </a:cubicBezTo>
                      <a:cubicBezTo>
                        <a:pt x="1065187" y="623816"/>
                        <a:pt x="1133692" y="531051"/>
                        <a:pt x="1247867" y="488029"/>
                      </a:cubicBezTo>
                      <a:cubicBezTo>
                        <a:pt x="1374131" y="440974"/>
                        <a:pt x="1513828" y="470551"/>
                        <a:pt x="1641435" y="496095"/>
                      </a:cubicBezTo>
                      <a:cubicBezTo>
                        <a:pt x="1656211" y="498784"/>
                        <a:pt x="1672330" y="501473"/>
                        <a:pt x="1688448" y="504162"/>
                      </a:cubicBezTo>
                      <a:cubicBezTo>
                        <a:pt x="1633376" y="294431"/>
                        <a:pt x="1501738" y="115621"/>
                        <a:pt x="1324431" y="0"/>
                      </a:cubicBezTo>
                      <a:cubicBezTo>
                        <a:pt x="1288164" y="24200"/>
                        <a:pt x="1255926" y="53777"/>
                        <a:pt x="1230405" y="94110"/>
                      </a:cubicBezTo>
                      <a:cubicBezTo>
                        <a:pt x="1160556" y="198976"/>
                        <a:pt x="1121603" y="321319"/>
                        <a:pt x="1031606" y="411396"/>
                      </a:cubicBezTo>
                      <a:cubicBezTo>
                        <a:pt x="858328" y="583483"/>
                        <a:pt x="539981" y="623816"/>
                        <a:pt x="314317" y="553906"/>
                      </a:cubicBezTo>
                      <a:cubicBezTo>
                        <a:pt x="214918" y="522984"/>
                        <a:pt x="126264" y="455762"/>
                        <a:pt x="69848" y="372408"/>
                      </a:cubicBezTo>
                      <a:cubicBezTo>
                        <a:pt x="33581" y="453073"/>
                        <a:pt x="9402" y="540462"/>
                        <a:pt x="0" y="631883"/>
                      </a:cubicBezTo>
                      <a:cubicBezTo>
                        <a:pt x="61789" y="720615"/>
                        <a:pt x="141040" y="793215"/>
                        <a:pt x="247155" y="840270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227" name="Google Shape;227;p11"/>
                <p:cNvSpPr/>
                <p:nvPr/>
              </p:nvSpPr>
              <p:spPr>
                <a:xfrm>
                  <a:off x="6381386" y="1731225"/>
                  <a:ext cx="1340550" cy="60900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1340550" h="609002" extrusionOk="0">
                      <a:moveTo>
                        <a:pt x="1000711" y="186851"/>
                      </a:moveTo>
                      <a:cubicBezTo>
                        <a:pt x="820717" y="385827"/>
                        <a:pt x="625948" y="610347"/>
                        <a:pt x="329093" y="565981"/>
                      </a:cubicBezTo>
                      <a:cubicBezTo>
                        <a:pt x="208202" y="547159"/>
                        <a:pt x="103429" y="490692"/>
                        <a:pt x="0" y="430193"/>
                      </a:cubicBezTo>
                      <a:cubicBezTo>
                        <a:pt x="145069" y="541781"/>
                        <a:pt x="326406" y="609002"/>
                        <a:pt x="523862" y="609002"/>
                      </a:cubicBezTo>
                      <a:cubicBezTo>
                        <a:pt x="903998" y="609002"/>
                        <a:pt x="1226375" y="362971"/>
                        <a:pt x="1340550" y="20141"/>
                      </a:cubicBezTo>
                      <a:cubicBezTo>
                        <a:pt x="1208913" y="-53803"/>
                        <a:pt x="1085335" y="92741"/>
                        <a:pt x="1000711" y="186851"/>
                      </a:cubicBezTo>
                      <a:close/>
                    </a:path>
                  </a:pathLst>
                </a:custGeom>
                <a:solidFill>
                  <a:schemeClr val="accent1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</p:grpSp>
      <p:grpSp>
        <p:nvGrpSpPr>
          <p:cNvPr id="228" name="Google Shape;228;p11"/>
          <p:cNvGrpSpPr/>
          <p:nvPr/>
        </p:nvGrpSpPr>
        <p:grpSpPr>
          <a:xfrm rot="10800000">
            <a:off x="-1853018" y="-605044"/>
            <a:ext cx="15552023" cy="9371675"/>
            <a:chOff x="-1630974" y="-1221895"/>
            <a:chExt cx="11664017" cy="7028756"/>
          </a:xfrm>
        </p:grpSpPr>
        <p:sp>
          <p:nvSpPr>
            <p:cNvPr id="229" name="Google Shape;229;p11"/>
            <p:cNvSpPr/>
            <p:nvPr/>
          </p:nvSpPr>
          <p:spPr>
            <a:xfrm rot="8100000">
              <a:off x="7000461" y="-489152"/>
              <a:ext cx="2812701" cy="1786976"/>
            </a:xfrm>
            <a:custGeom>
              <a:avLst/>
              <a:gdLst/>
              <a:ahLst/>
              <a:cxnLst/>
              <a:rect l="l" t="t" r="r" b="b"/>
              <a:pathLst>
                <a:path w="2811138" h="1785983" extrusionOk="0">
                  <a:moveTo>
                    <a:pt x="1258301" y="258507"/>
                  </a:moveTo>
                  <a:cubicBezTo>
                    <a:pt x="1113230" y="165741"/>
                    <a:pt x="997712" y="-19790"/>
                    <a:pt x="827121" y="1721"/>
                  </a:cubicBezTo>
                  <a:cubicBezTo>
                    <a:pt x="639068" y="25920"/>
                    <a:pt x="583996" y="273296"/>
                    <a:pt x="440269" y="395639"/>
                  </a:cubicBezTo>
                  <a:cubicBezTo>
                    <a:pt x="322064" y="496472"/>
                    <a:pt x="139384" y="515294"/>
                    <a:pt x="49387" y="643015"/>
                  </a:cubicBezTo>
                  <a:cubicBezTo>
                    <a:pt x="-17774" y="738469"/>
                    <a:pt x="-11058" y="870224"/>
                    <a:pt x="37298" y="976434"/>
                  </a:cubicBezTo>
                  <a:cubicBezTo>
                    <a:pt x="85654" y="1082644"/>
                    <a:pt x="167592" y="1168688"/>
                    <a:pt x="249529" y="1252042"/>
                  </a:cubicBezTo>
                  <a:cubicBezTo>
                    <a:pt x="276394" y="1278931"/>
                    <a:pt x="304602" y="1307164"/>
                    <a:pt x="340869" y="1319264"/>
                  </a:cubicBezTo>
                  <a:cubicBezTo>
                    <a:pt x="429523" y="1346153"/>
                    <a:pt x="511460" y="1262798"/>
                    <a:pt x="600115" y="1234565"/>
                  </a:cubicBezTo>
                  <a:cubicBezTo>
                    <a:pt x="778765" y="1178099"/>
                    <a:pt x="942640" y="1347497"/>
                    <a:pt x="1051442" y="1500762"/>
                  </a:cubicBezTo>
                  <a:cubicBezTo>
                    <a:pt x="1160244" y="1652683"/>
                    <a:pt x="1317402" y="1826115"/>
                    <a:pt x="1498739" y="1777715"/>
                  </a:cubicBezTo>
                  <a:cubicBezTo>
                    <a:pt x="1670674" y="1732005"/>
                    <a:pt x="1744552" y="1507484"/>
                    <a:pt x="1915143" y="1456396"/>
                  </a:cubicBezTo>
                  <a:cubicBezTo>
                    <a:pt x="2122002" y="1394552"/>
                    <a:pt x="2318114" y="1623106"/>
                    <a:pt x="2531689" y="1602939"/>
                  </a:cubicBezTo>
                  <a:cubicBezTo>
                    <a:pt x="2729145" y="1585461"/>
                    <a:pt x="2851379" y="1344808"/>
                    <a:pt x="2798992" y="1153899"/>
                  </a:cubicBezTo>
                  <a:cubicBezTo>
                    <a:pt x="2746607" y="961645"/>
                    <a:pt x="2571986" y="825857"/>
                    <a:pt x="2386619" y="755947"/>
                  </a:cubicBezTo>
                  <a:cubicBezTo>
                    <a:pt x="2359755" y="745192"/>
                    <a:pt x="2332890" y="735781"/>
                    <a:pt x="2312741" y="715614"/>
                  </a:cubicBezTo>
                  <a:cubicBezTo>
                    <a:pt x="2276474" y="676626"/>
                    <a:pt x="2285877" y="614782"/>
                    <a:pt x="2293936" y="562349"/>
                  </a:cubicBezTo>
                  <a:cubicBezTo>
                    <a:pt x="2315427" y="429250"/>
                    <a:pt x="2318114" y="281363"/>
                    <a:pt x="2238863" y="171119"/>
                  </a:cubicBezTo>
                  <a:cubicBezTo>
                    <a:pt x="1998424" y="-167678"/>
                    <a:pt x="1612915" y="485716"/>
                    <a:pt x="1258301" y="25850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0" name="Google Shape;230;p11"/>
            <p:cNvSpPr/>
            <p:nvPr/>
          </p:nvSpPr>
          <p:spPr>
            <a:xfrm rot="-7421404">
              <a:off x="-1106589" y="-345439"/>
              <a:ext cx="2172069" cy="2422920"/>
            </a:xfrm>
            <a:custGeom>
              <a:avLst/>
              <a:gdLst/>
              <a:ahLst/>
              <a:cxnLst/>
              <a:rect l="l" t="t" r="r" b="b"/>
              <a:pathLst>
                <a:path w="2170896" h="2421611" extrusionOk="0">
                  <a:moveTo>
                    <a:pt x="227233" y="412741"/>
                  </a:moveTo>
                  <a:cubicBezTo>
                    <a:pt x="145295" y="572728"/>
                    <a:pt x="-41414" y="833548"/>
                    <a:pt x="8286" y="1060757"/>
                  </a:cubicBezTo>
                  <a:cubicBezTo>
                    <a:pt x="60672" y="1293343"/>
                    <a:pt x="327976" y="1302754"/>
                    <a:pt x="440807" y="1433164"/>
                  </a:cubicBezTo>
                  <a:cubicBezTo>
                    <a:pt x="538864" y="1547441"/>
                    <a:pt x="540207" y="1712806"/>
                    <a:pt x="623488" y="1862038"/>
                  </a:cubicBezTo>
                  <a:cubicBezTo>
                    <a:pt x="804825" y="2184702"/>
                    <a:pt x="1163470" y="2393089"/>
                    <a:pt x="1449579" y="2419977"/>
                  </a:cubicBezTo>
                  <a:cubicBezTo>
                    <a:pt x="1649721" y="2438800"/>
                    <a:pt x="1825685" y="2289568"/>
                    <a:pt x="2024484" y="2254612"/>
                  </a:cubicBezTo>
                  <a:cubicBezTo>
                    <a:pt x="2064781" y="2247890"/>
                    <a:pt x="2115824" y="2238479"/>
                    <a:pt x="2170897" y="2229068"/>
                  </a:cubicBezTo>
                  <a:lnTo>
                    <a:pt x="2170897" y="0"/>
                  </a:lnTo>
                  <a:lnTo>
                    <a:pt x="384392" y="0"/>
                  </a:lnTo>
                  <a:cubicBezTo>
                    <a:pt x="353497" y="139821"/>
                    <a:pt x="297082" y="275609"/>
                    <a:pt x="227233" y="41274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1" name="Google Shape;231;p11"/>
            <p:cNvSpPr/>
            <p:nvPr/>
          </p:nvSpPr>
          <p:spPr>
            <a:xfrm rot="-10584884" flipH="1">
              <a:off x="3105315" y="4278222"/>
              <a:ext cx="3146081" cy="1431671"/>
            </a:xfrm>
            <a:custGeom>
              <a:avLst/>
              <a:gdLst/>
              <a:ahLst/>
              <a:cxnLst/>
              <a:rect l="l" t="t" r="r" b="b"/>
              <a:pathLst>
                <a:path w="3147793" h="1432450" extrusionOk="0">
                  <a:moveTo>
                    <a:pt x="5" y="0"/>
                  </a:moveTo>
                  <a:cubicBezTo>
                    <a:pt x="2095" y="60948"/>
                    <a:pt x="4029" y="117787"/>
                    <a:pt x="7248" y="166108"/>
                  </a:cubicBezTo>
                  <a:cubicBezTo>
                    <a:pt x="29386" y="498514"/>
                    <a:pt x="91176" y="997120"/>
                    <a:pt x="279439" y="1120824"/>
                  </a:cubicBezTo>
                  <a:cubicBezTo>
                    <a:pt x="428055" y="1218478"/>
                    <a:pt x="537675" y="984218"/>
                    <a:pt x="670878" y="1078596"/>
                  </a:cubicBezTo>
                  <a:cubicBezTo>
                    <a:pt x="761504" y="1142806"/>
                    <a:pt x="825150" y="1304908"/>
                    <a:pt x="906947" y="1373723"/>
                  </a:cubicBezTo>
                  <a:cubicBezTo>
                    <a:pt x="1052507" y="1496183"/>
                    <a:pt x="1363613" y="1443288"/>
                    <a:pt x="1394255" y="1060306"/>
                  </a:cubicBezTo>
                  <a:cubicBezTo>
                    <a:pt x="1413108" y="824675"/>
                    <a:pt x="1190755" y="687312"/>
                    <a:pt x="1259001" y="469483"/>
                  </a:cubicBezTo>
                  <a:cubicBezTo>
                    <a:pt x="1341121" y="207363"/>
                    <a:pt x="1572647" y="474074"/>
                    <a:pt x="1644740" y="604519"/>
                  </a:cubicBezTo>
                  <a:cubicBezTo>
                    <a:pt x="1781519" y="852008"/>
                    <a:pt x="1906539" y="966060"/>
                    <a:pt x="2075133" y="694563"/>
                  </a:cubicBezTo>
                  <a:cubicBezTo>
                    <a:pt x="2154300" y="567074"/>
                    <a:pt x="2290772" y="416377"/>
                    <a:pt x="2458298" y="458812"/>
                  </a:cubicBezTo>
                  <a:cubicBezTo>
                    <a:pt x="2596413" y="493799"/>
                    <a:pt x="2656130" y="606644"/>
                    <a:pt x="2704667" y="729647"/>
                  </a:cubicBezTo>
                  <a:cubicBezTo>
                    <a:pt x="2743050" y="826923"/>
                    <a:pt x="2809757" y="868433"/>
                    <a:pt x="2928732" y="892891"/>
                  </a:cubicBezTo>
                  <a:cubicBezTo>
                    <a:pt x="3109223" y="929997"/>
                    <a:pt x="3127813" y="753080"/>
                    <a:pt x="3139828" y="643479"/>
                  </a:cubicBezTo>
                  <a:cubicBezTo>
                    <a:pt x="3159032" y="468291"/>
                    <a:pt x="3137743" y="292715"/>
                    <a:pt x="3135853" y="117323"/>
                  </a:cubicBezTo>
                  <a:cubicBezTo>
                    <a:pt x="3135414" y="76647"/>
                    <a:pt x="3136034" y="37879"/>
                    <a:pt x="3137189" y="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32" name="Google Shape;232;p11"/>
          <p:cNvGrpSpPr/>
          <p:nvPr/>
        </p:nvGrpSpPr>
        <p:grpSpPr>
          <a:xfrm rot="10800000">
            <a:off x="886042" y="3709851"/>
            <a:ext cx="11060575" cy="4176740"/>
            <a:chOff x="-316682" y="-561866"/>
            <a:chExt cx="8295431" cy="3132555"/>
          </a:xfrm>
        </p:grpSpPr>
        <p:sp>
          <p:nvSpPr>
            <p:cNvPr id="233" name="Google Shape;233;p11"/>
            <p:cNvSpPr/>
            <p:nvPr/>
          </p:nvSpPr>
          <p:spPr>
            <a:xfrm rot="1759126">
              <a:off x="5515804" y="-106302"/>
              <a:ext cx="2246092" cy="1473264"/>
            </a:xfrm>
            <a:custGeom>
              <a:avLst/>
              <a:gdLst/>
              <a:ahLst/>
              <a:cxnLst/>
              <a:rect l="l" t="t" r="r" b="b"/>
              <a:pathLst>
                <a:path w="2244570" h="1472266" extrusionOk="0">
                  <a:moveTo>
                    <a:pt x="1418508" y="1472266"/>
                  </a:moveTo>
                  <a:cubicBezTo>
                    <a:pt x="1359406" y="1472266"/>
                    <a:pt x="1298960" y="1452100"/>
                    <a:pt x="1250603" y="1418489"/>
                  </a:cubicBezTo>
                  <a:cubicBezTo>
                    <a:pt x="1178069" y="1368745"/>
                    <a:pt x="1127025" y="1296146"/>
                    <a:pt x="1078669" y="1227579"/>
                  </a:cubicBezTo>
                  <a:cubicBezTo>
                    <a:pt x="1065237" y="1208757"/>
                    <a:pt x="1051804" y="1191280"/>
                    <a:pt x="1038372" y="1172458"/>
                  </a:cubicBezTo>
                  <a:cubicBezTo>
                    <a:pt x="959121" y="1066248"/>
                    <a:pt x="879870" y="1009781"/>
                    <a:pt x="799276" y="999026"/>
                  </a:cubicBezTo>
                  <a:cubicBezTo>
                    <a:pt x="729428" y="990960"/>
                    <a:pt x="655550" y="1016504"/>
                    <a:pt x="585701" y="1040703"/>
                  </a:cubicBezTo>
                  <a:cubicBezTo>
                    <a:pt x="494361" y="1072970"/>
                    <a:pt x="400335" y="1106581"/>
                    <a:pt x="308995" y="1068937"/>
                  </a:cubicBezTo>
                  <a:cubicBezTo>
                    <a:pt x="225714" y="1035326"/>
                    <a:pt x="176014" y="954660"/>
                    <a:pt x="133031" y="872649"/>
                  </a:cubicBezTo>
                  <a:cubicBezTo>
                    <a:pt x="76614" y="762406"/>
                    <a:pt x="16169" y="630652"/>
                    <a:pt x="2736" y="490831"/>
                  </a:cubicBezTo>
                  <a:cubicBezTo>
                    <a:pt x="-12039" y="338910"/>
                    <a:pt x="33631" y="196400"/>
                    <a:pt x="124971" y="106323"/>
                  </a:cubicBezTo>
                  <a:cubicBezTo>
                    <a:pt x="204222" y="28346"/>
                    <a:pt x="318397" y="-7953"/>
                    <a:pt x="446005" y="1458"/>
                  </a:cubicBezTo>
                  <a:cubicBezTo>
                    <a:pt x="561523" y="10869"/>
                    <a:pt x="681071" y="57924"/>
                    <a:pt x="773754" y="130523"/>
                  </a:cubicBezTo>
                  <a:cubicBezTo>
                    <a:pt x="787187" y="141279"/>
                    <a:pt x="800619" y="152034"/>
                    <a:pt x="814051" y="164134"/>
                  </a:cubicBezTo>
                  <a:cubicBezTo>
                    <a:pt x="866438" y="208500"/>
                    <a:pt x="914794" y="250177"/>
                    <a:pt x="976583" y="262277"/>
                  </a:cubicBezTo>
                  <a:cubicBezTo>
                    <a:pt x="1070610" y="281099"/>
                    <a:pt x="1153890" y="225978"/>
                    <a:pt x="1241200" y="168167"/>
                  </a:cubicBezTo>
                  <a:cubicBezTo>
                    <a:pt x="1297617" y="130523"/>
                    <a:pt x="1356719" y="91535"/>
                    <a:pt x="1421195" y="71368"/>
                  </a:cubicBezTo>
                  <a:lnTo>
                    <a:pt x="1421195" y="71368"/>
                  </a:lnTo>
                  <a:cubicBezTo>
                    <a:pt x="1548802" y="31035"/>
                    <a:pt x="1773123" y="65990"/>
                    <a:pt x="1985354" y="235389"/>
                  </a:cubicBezTo>
                  <a:cubicBezTo>
                    <a:pt x="2045800" y="283788"/>
                    <a:pt x="2114304" y="363110"/>
                    <a:pt x="2164004" y="442431"/>
                  </a:cubicBezTo>
                  <a:cubicBezTo>
                    <a:pt x="2206988" y="512342"/>
                    <a:pt x="2256688" y="613174"/>
                    <a:pt x="2241912" y="699218"/>
                  </a:cubicBezTo>
                  <a:cubicBezTo>
                    <a:pt x="2227137" y="782573"/>
                    <a:pt x="2139826" y="832317"/>
                    <a:pt x="2059232" y="844416"/>
                  </a:cubicBezTo>
                  <a:cubicBezTo>
                    <a:pt x="2026994" y="849794"/>
                    <a:pt x="1993413" y="849794"/>
                    <a:pt x="1961176" y="851138"/>
                  </a:cubicBezTo>
                  <a:cubicBezTo>
                    <a:pt x="1918192" y="852483"/>
                    <a:pt x="1877895" y="853828"/>
                    <a:pt x="1837598" y="863238"/>
                  </a:cubicBezTo>
                  <a:cubicBezTo>
                    <a:pt x="1743571" y="887438"/>
                    <a:pt x="1665664" y="966760"/>
                    <a:pt x="1642829" y="1060870"/>
                  </a:cubicBezTo>
                  <a:cubicBezTo>
                    <a:pt x="1633426" y="1099858"/>
                    <a:pt x="1632083" y="1144225"/>
                    <a:pt x="1630739" y="1187246"/>
                  </a:cubicBezTo>
                  <a:cubicBezTo>
                    <a:pt x="1628053" y="1266568"/>
                    <a:pt x="1626710" y="1349923"/>
                    <a:pt x="1571637" y="1411767"/>
                  </a:cubicBezTo>
                  <a:cubicBezTo>
                    <a:pt x="1531340" y="1453444"/>
                    <a:pt x="1476267" y="1472266"/>
                    <a:pt x="1418508" y="1472266"/>
                  </a:cubicBezTo>
                  <a:close/>
                  <a:moveTo>
                    <a:pt x="769725" y="957349"/>
                  </a:moveTo>
                  <a:cubicBezTo>
                    <a:pt x="780470" y="957349"/>
                    <a:pt x="792560" y="957349"/>
                    <a:pt x="803306" y="960038"/>
                  </a:cubicBezTo>
                  <a:cubicBezTo>
                    <a:pt x="895989" y="972137"/>
                    <a:pt x="983299" y="1033981"/>
                    <a:pt x="1070610" y="1149603"/>
                  </a:cubicBezTo>
                  <a:cubicBezTo>
                    <a:pt x="1084042" y="1168424"/>
                    <a:pt x="1097474" y="1187246"/>
                    <a:pt x="1110907" y="1204724"/>
                  </a:cubicBezTo>
                  <a:cubicBezTo>
                    <a:pt x="1157920" y="1271946"/>
                    <a:pt x="1207620" y="1340512"/>
                    <a:pt x="1273439" y="1386222"/>
                  </a:cubicBezTo>
                  <a:cubicBezTo>
                    <a:pt x="1351346" y="1440000"/>
                    <a:pt x="1476267" y="1454789"/>
                    <a:pt x="1539399" y="1383534"/>
                  </a:cubicBezTo>
                  <a:cubicBezTo>
                    <a:pt x="1585070" y="1332445"/>
                    <a:pt x="1586412" y="1261190"/>
                    <a:pt x="1589099" y="1185902"/>
                  </a:cubicBezTo>
                  <a:cubicBezTo>
                    <a:pt x="1590442" y="1141536"/>
                    <a:pt x="1591786" y="1095825"/>
                    <a:pt x="1602531" y="1051459"/>
                  </a:cubicBezTo>
                  <a:cubicBezTo>
                    <a:pt x="1628053" y="942560"/>
                    <a:pt x="1718050" y="851138"/>
                    <a:pt x="1826852" y="824250"/>
                  </a:cubicBezTo>
                  <a:cubicBezTo>
                    <a:pt x="1871179" y="813495"/>
                    <a:pt x="1915505" y="812150"/>
                    <a:pt x="1958489" y="810806"/>
                  </a:cubicBezTo>
                  <a:cubicBezTo>
                    <a:pt x="1989383" y="809461"/>
                    <a:pt x="2021621" y="809461"/>
                    <a:pt x="2051173" y="805428"/>
                  </a:cubicBezTo>
                  <a:cubicBezTo>
                    <a:pt x="2116991" y="796017"/>
                    <a:pt x="2189526" y="757028"/>
                    <a:pt x="2200272" y="693840"/>
                  </a:cubicBezTo>
                  <a:cubicBezTo>
                    <a:pt x="2221763" y="568808"/>
                    <a:pt x="2071321" y="359077"/>
                    <a:pt x="1958489" y="269000"/>
                  </a:cubicBezTo>
                  <a:cubicBezTo>
                    <a:pt x="1813420" y="154723"/>
                    <a:pt x="1595815" y="60613"/>
                    <a:pt x="1431940" y="113045"/>
                  </a:cubicBezTo>
                  <a:lnTo>
                    <a:pt x="1431940" y="113045"/>
                  </a:lnTo>
                  <a:cubicBezTo>
                    <a:pt x="1372838" y="131868"/>
                    <a:pt x="1316422" y="168167"/>
                    <a:pt x="1261349" y="204467"/>
                  </a:cubicBezTo>
                  <a:cubicBezTo>
                    <a:pt x="1170009" y="264966"/>
                    <a:pt x="1075983" y="326810"/>
                    <a:pt x="965837" y="303955"/>
                  </a:cubicBezTo>
                  <a:cubicBezTo>
                    <a:pt x="894646" y="289166"/>
                    <a:pt x="839573" y="243455"/>
                    <a:pt x="785844" y="197745"/>
                  </a:cubicBezTo>
                  <a:cubicBezTo>
                    <a:pt x="772411" y="186989"/>
                    <a:pt x="758979" y="176234"/>
                    <a:pt x="746890" y="165478"/>
                  </a:cubicBezTo>
                  <a:cubicBezTo>
                    <a:pt x="531972" y="-5265"/>
                    <a:pt x="274070" y="17591"/>
                    <a:pt x="150493" y="138590"/>
                  </a:cubicBezTo>
                  <a:cubicBezTo>
                    <a:pt x="68555" y="219256"/>
                    <a:pt x="26915" y="351010"/>
                    <a:pt x="40347" y="489486"/>
                  </a:cubicBezTo>
                  <a:cubicBezTo>
                    <a:pt x="53780" y="622585"/>
                    <a:pt x="111539" y="750306"/>
                    <a:pt x="166612" y="856516"/>
                  </a:cubicBezTo>
                  <a:cubicBezTo>
                    <a:pt x="202879" y="926427"/>
                    <a:pt x="247206" y="1004404"/>
                    <a:pt x="322427" y="1033981"/>
                  </a:cubicBezTo>
                  <a:cubicBezTo>
                    <a:pt x="400335" y="1064903"/>
                    <a:pt x="483615" y="1035326"/>
                    <a:pt x="570926" y="1004404"/>
                  </a:cubicBezTo>
                  <a:cubicBezTo>
                    <a:pt x="635401" y="980204"/>
                    <a:pt x="702563" y="957349"/>
                    <a:pt x="769725" y="957349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34" name="Google Shape;234;p11"/>
            <p:cNvSpPr/>
            <p:nvPr/>
          </p:nvSpPr>
          <p:spPr>
            <a:xfrm>
              <a:off x="-316682" y="1438957"/>
              <a:ext cx="1049471" cy="1131732"/>
            </a:xfrm>
            <a:custGeom>
              <a:avLst/>
              <a:gdLst/>
              <a:ahLst/>
              <a:cxnLst/>
              <a:rect l="l" t="t" r="r" b="b"/>
              <a:pathLst>
                <a:path w="1049471" h="1131732" extrusionOk="0">
                  <a:moveTo>
                    <a:pt x="483270" y="1131779"/>
                  </a:moveTo>
                  <a:cubicBezTo>
                    <a:pt x="398271" y="1131812"/>
                    <a:pt x="314787" y="1109289"/>
                    <a:pt x="241351" y="1066512"/>
                  </a:cubicBezTo>
                  <a:cubicBezTo>
                    <a:pt x="139738" y="1007639"/>
                    <a:pt x="47451" y="845238"/>
                    <a:pt x="16932" y="722241"/>
                  </a:cubicBezTo>
                  <a:cubicBezTo>
                    <a:pt x="-9815" y="614425"/>
                    <a:pt x="-4913" y="468503"/>
                    <a:pt x="31922" y="276131"/>
                  </a:cubicBezTo>
                  <a:cubicBezTo>
                    <a:pt x="48929" y="187298"/>
                    <a:pt x="61218" y="123116"/>
                    <a:pt x="157323" y="85051"/>
                  </a:cubicBezTo>
                  <a:cubicBezTo>
                    <a:pt x="284581" y="34641"/>
                    <a:pt x="476122" y="69680"/>
                    <a:pt x="587766" y="132654"/>
                  </a:cubicBezTo>
                  <a:cubicBezTo>
                    <a:pt x="676598" y="182753"/>
                    <a:pt x="761012" y="306345"/>
                    <a:pt x="793052" y="433200"/>
                  </a:cubicBezTo>
                  <a:cubicBezTo>
                    <a:pt x="817148" y="528615"/>
                    <a:pt x="809042" y="615044"/>
                    <a:pt x="770230" y="676572"/>
                  </a:cubicBezTo>
                  <a:cubicBezTo>
                    <a:pt x="725870" y="746891"/>
                    <a:pt x="656627" y="789762"/>
                    <a:pt x="569991" y="800536"/>
                  </a:cubicBezTo>
                  <a:cubicBezTo>
                    <a:pt x="423531" y="818785"/>
                    <a:pt x="257503" y="743297"/>
                    <a:pt x="169206" y="659322"/>
                  </a:cubicBezTo>
                  <a:cubicBezTo>
                    <a:pt x="101912" y="595321"/>
                    <a:pt x="42855" y="473174"/>
                    <a:pt x="60190" y="363546"/>
                  </a:cubicBezTo>
                  <a:cubicBezTo>
                    <a:pt x="69447" y="297263"/>
                    <a:pt x="112092" y="240366"/>
                    <a:pt x="173136" y="212855"/>
                  </a:cubicBezTo>
                  <a:cubicBezTo>
                    <a:pt x="235556" y="183259"/>
                    <a:pt x="308563" y="186330"/>
                    <a:pt x="368273" y="221063"/>
                  </a:cubicBezTo>
                  <a:cubicBezTo>
                    <a:pt x="432248" y="256422"/>
                    <a:pt x="475036" y="320651"/>
                    <a:pt x="483001" y="393280"/>
                  </a:cubicBezTo>
                  <a:cubicBezTo>
                    <a:pt x="489749" y="458890"/>
                    <a:pt x="452207" y="509547"/>
                    <a:pt x="385031" y="525490"/>
                  </a:cubicBezTo>
                  <a:cubicBezTo>
                    <a:pt x="306603" y="544097"/>
                    <a:pt x="201971" y="509779"/>
                    <a:pt x="171201" y="429030"/>
                  </a:cubicBezTo>
                  <a:cubicBezTo>
                    <a:pt x="167456" y="419203"/>
                    <a:pt x="172391" y="408202"/>
                    <a:pt x="182224" y="404460"/>
                  </a:cubicBezTo>
                  <a:cubicBezTo>
                    <a:pt x="192056" y="400717"/>
                    <a:pt x="203063" y="405649"/>
                    <a:pt x="206808" y="415476"/>
                  </a:cubicBezTo>
                  <a:cubicBezTo>
                    <a:pt x="230109" y="476633"/>
                    <a:pt x="314802" y="503016"/>
                    <a:pt x="376226" y="488444"/>
                  </a:cubicBezTo>
                  <a:cubicBezTo>
                    <a:pt x="404760" y="481672"/>
                    <a:pt x="451645" y="460810"/>
                    <a:pt x="445096" y="397176"/>
                  </a:cubicBezTo>
                  <a:cubicBezTo>
                    <a:pt x="438408" y="336874"/>
                    <a:pt x="402814" y="283583"/>
                    <a:pt x="349656" y="254285"/>
                  </a:cubicBezTo>
                  <a:cubicBezTo>
                    <a:pt x="300740" y="225693"/>
                    <a:pt x="240867" y="223037"/>
                    <a:pt x="189610" y="247187"/>
                  </a:cubicBezTo>
                  <a:cubicBezTo>
                    <a:pt x="139787" y="269193"/>
                    <a:pt x="105013" y="315527"/>
                    <a:pt x="97819" y="369491"/>
                  </a:cubicBezTo>
                  <a:cubicBezTo>
                    <a:pt x="84551" y="453429"/>
                    <a:pt x="126530" y="566172"/>
                    <a:pt x="195474" y="631740"/>
                  </a:cubicBezTo>
                  <a:cubicBezTo>
                    <a:pt x="277269" y="709528"/>
                    <a:pt x="430562" y="779512"/>
                    <a:pt x="565289" y="762751"/>
                  </a:cubicBezTo>
                  <a:cubicBezTo>
                    <a:pt x="641280" y="753296"/>
                    <a:pt x="699388" y="717467"/>
                    <a:pt x="737999" y="656264"/>
                  </a:cubicBezTo>
                  <a:cubicBezTo>
                    <a:pt x="771197" y="603637"/>
                    <a:pt x="777629" y="527731"/>
                    <a:pt x="756110" y="442519"/>
                  </a:cubicBezTo>
                  <a:cubicBezTo>
                    <a:pt x="726424" y="324979"/>
                    <a:pt x="649498" y="211195"/>
                    <a:pt x="569042" y="165814"/>
                  </a:cubicBezTo>
                  <a:cubicBezTo>
                    <a:pt x="465188" y="107233"/>
                    <a:pt x="288036" y="74244"/>
                    <a:pt x="171359" y="120453"/>
                  </a:cubicBezTo>
                  <a:cubicBezTo>
                    <a:pt x="94704" y="150814"/>
                    <a:pt x="85695" y="197869"/>
                    <a:pt x="69342" y="283289"/>
                  </a:cubicBezTo>
                  <a:cubicBezTo>
                    <a:pt x="33564" y="470135"/>
                    <a:pt x="28517" y="610721"/>
                    <a:pt x="53916" y="713075"/>
                  </a:cubicBezTo>
                  <a:cubicBezTo>
                    <a:pt x="81900" y="825873"/>
                    <a:pt x="168824" y="980478"/>
                    <a:pt x="260457" y="1033566"/>
                  </a:cubicBezTo>
                  <a:cubicBezTo>
                    <a:pt x="371401" y="1097749"/>
                    <a:pt x="504534" y="1111383"/>
                    <a:pt x="626197" y="1071022"/>
                  </a:cubicBezTo>
                  <a:cubicBezTo>
                    <a:pt x="767203" y="1024783"/>
                    <a:pt x="882617" y="922020"/>
                    <a:pt x="944796" y="787349"/>
                  </a:cubicBezTo>
                  <a:cubicBezTo>
                    <a:pt x="1002612" y="661072"/>
                    <a:pt x="1023385" y="520989"/>
                    <a:pt x="1004699" y="383380"/>
                  </a:cubicBezTo>
                  <a:cubicBezTo>
                    <a:pt x="986891" y="254177"/>
                    <a:pt x="852504" y="85739"/>
                    <a:pt x="728181" y="36789"/>
                  </a:cubicBezTo>
                  <a:cubicBezTo>
                    <a:pt x="718401" y="32912"/>
                    <a:pt x="713617" y="21846"/>
                    <a:pt x="717495" y="12072"/>
                  </a:cubicBezTo>
                  <a:cubicBezTo>
                    <a:pt x="721361" y="2329"/>
                    <a:pt x="732378" y="-2459"/>
                    <a:pt x="742144" y="1360"/>
                  </a:cubicBezTo>
                  <a:cubicBezTo>
                    <a:pt x="879586" y="55475"/>
                    <a:pt x="1022717" y="235083"/>
                    <a:pt x="1042446" y="378183"/>
                  </a:cubicBezTo>
                  <a:cubicBezTo>
                    <a:pt x="1062116" y="522922"/>
                    <a:pt x="1040282" y="670268"/>
                    <a:pt x="979482" y="803097"/>
                  </a:cubicBezTo>
                  <a:cubicBezTo>
                    <a:pt x="912796" y="947515"/>
                    <a:pt x="789019" y="1057711"/>
                    <a:pt x="637801" y="1107287"/>
                  </a:cubicBezTo>
                  <a:cubicBezTo>
                    <a:pt x="587871" y="1123399"/>
                    <a:pt x="535739" y="1131661"/>
                    <a:pt x="483270" y="1131779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35" name="Google Shape;235;p11"/>
          <p:cNvSpPr txBox="1">
            <a:spLocks noGrp="1"/>
          </p:cNvSpPr>
          <p:nvPr>
            <p:ph type="title" hasCustomPrompt="1"/>
          </p:nvPr>
        </p:nvSpPr>
        <p:spPr>
          <a:xfrm>
            <a:off x="3303167" y="2130708"/>
            <a:ext cx="5585600" cy="15572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9866"/>
            </a:lvl1pPr>
            <a:lvl2pPr lvl="1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2pPr>
            <a:lvl3pPr lvl="2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3pPr>
            <a:lvl4pPr lvl="3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4pPr>
            <a:lvl5pPr lvl="4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5pPr>
            <a:lvl6pPr lvl="5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6pPr>
            <a:lvl7pPr lvl="6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7pPr>
            <a:lvl8pPr lvl="7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8pPr>
            <a:lvl9pPr lvl="8" algn="ctr">
              <a:spcBef>
                <a:spcPts val="0"/>
              </a:spcBef>
              <a:spcAft>
                <a:spcPts val="0"/>
              </a:spcAft>
              <a:buSzPts val="9600"/>
              <a:buNone/>
              <a:defRPr sz="12800"/>
            </a:lvl9pPr>
          </a:lstStyle>
          <a:p>
            <a:r>
              <a:t>xx%</a:t>
            </a:r>
          </a:p>
        </p:txBody>
      </p:sp>
      <p:sp>
        <p:nvSpPr>
          <p:cNvPr id="236" name="Google Shape;236;p11"/>
          <p:cNvSpPr txBox="1">
            <a:spLocks noGrp="1"/>
          </p:cNvSpPr>
          <p:nvPr>
            <p:ph type="subTitle" idx="1"/>
          </p:nvPr>
        </p:nvSpPr>
        <p:spPr>
          <a:xfrm>
            <a:off x="3303167" y="3708333"/>
            <a:ext cx="5585600" cy="998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2133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2133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23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 1">
  <p:cSld name="CUSTOM_6_1">
    <p:spTree>
      <p:nvGrpSpPr>
        <p:cNvPr id="1" name="Shape 23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9" name="Google Shape;239;p13"/>
          <p:cNvGrpSpPr/>
          <p:nvPr/>
        </p:nvGrpSpPr>
        <p:grpSpPr>
          <a:xfrm>
            <a:off x="-418653" y="-1360083"/>
            <a:ext cx="13688281" cy="9230003"/>
            <a:chOff x="-313990" y="-1020062"/>
            <a:chExt cx="10266211" cy="6922502"/>
          </a:xfrm>
        </p:grpSpPr>
        <p:sp>
          <p:nvSpPr>
            <p:cNvPr id="240" name="Google Shape;240;p13"/>
            <p:cNvSpPr/>
            <p:nvPr/>
          </p:nvSpPr>
          <p:spPr>
            <a:xfrm rot="-4955155">
              <a:off x="6081222" y="-1285937"/>
              <a:ext cx="1339455" cy="2135581"/>
            </a:xfrm>
            <a:custGeom>
              <a:avLst/>
              <a:gdLst/>
              <a:ahLst/>
              <a:cxnLst/>
              <a:rect l="l" t="t" r="r" b="b"/>
              <a:pathLst>
                <a:path w="751489" h="1198148" extrusionOk="0">
                  <a:moveTo>
                    <a:pt x="402141" y="93"/>
                  </a:moveTo>
                  <a:cubicBezTo>
                    <a:pt x="300092" y="-4042"/>
                    <a:pt x="198166" y="131310"/>
                    <a:pt x="199148" y="212705"/>
                  </a:cubicBezTo>
                  <a:lnTo>
                    <a:pt x="145466" y="278583"/>
                  </a:lnTo>
                  <a:cubicBezTo>
                    <a:pt x="81810" y="365373"/>
                    <a:pt x="-52110" y="377588"/>
                    <a:pt x="21507" y="523992"/>
                  </a:cubicBezTo>
                  <a:cubicBezTo>
                    <a:pt x="87406" y="655045"/>
                    <a:pt x="282594" y="691885"/>
                    <a:pt x="191235" y="850801"/>
                  </a:cubicBezTo>
                  <a:cubicBezTo>
                    <a:pt x="146722" y="928231"/>
                    <a:pt x="4264" y="1000694"/>
                    <a:pt x="115239" y="1109208"/>
                  </a:cubicBezTo>
                  <a:cubicBezTo>
                    <a:pt x="185433" y="1177845"/>
                    <a:pt x="323836" y="1202440"/>
                    <a:pt x="413492" y="1197549"/>
                  </a:cubicBezTo>
                  <a:cubicBezTo>
                    <a:pt x="545371" y="1190353"/>
                    <a:pt x="639573" y="1102179"/>
                    <a:pt x="678160" y="999074"/>
                  </a:cubicBezTo>
                  <a:cubicBezTo>
                    <a:pt x="690563" y="965929"/>
                    <a:pt x="718971" y="887260"/>
                    <a:pt x="675608" y="853910"/>
                  </a:cubicBezTo>
                  <a:cubicBezTo>
                    <a:pt x="705576" y="766537"/>
                    <a:pt x="769977" y="686975"/>
                    <a:pt x="746416" y="586540"/>
                  </a:cubicBezTo>
                  <a:cubicBezTo>
                    <a:pt x="729223" y="513258"/>
                    <a:pt x="706434" y="443540"/>
                    <a:pt x="694118" y="369547"/>
                  </a:cubicBezTo>
                  <a:cubicBezTo>
                    <a:pt x="685187" y="315888"/>
                    <a:pt x="680889" y="280062"/>
                    <a:pt x="648068" y="235117"/>
                  </a:cubicBezTo>
                  <a:cubicBezTo>
                    <a:pt x="595351" y="162922"/>
                    <a:pt x="511052" y="4507"/>
                    <a:pt x="402141" y="9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1" name="Google Shape;241;p13"/>
            <p:cNvSpPr/>
            <p:nvPr/>
          </p:nvSpPr>
          <p:spPr>
            <a:xfrm rot="-675734">
              <a:off x="6208492" y="3703242"/>
              <a:ext cx="3596138" cy="1866002"/>
            </a:xfrm>
            <a:custGeom>
              <a:avLst/>
              <a:gdLst/>
              <a:ahLst/>
              <a:cxnLst/>
              <a:rect l="l" t="t" r="r" b="b"/>
              <a:pathLst>
                <a:path w="3053584" h="1584476" extrusionOk="0">
                  <a:moveTo>
                    <a:pt x="2848044" y="66280"/>
                  </a:moveTo>
                  <a:cubicBezTo>
                    <a:pt x="2692826" y="-76856"/>
                    <a:pt x="2447207" y="24797"/>
                    <a:pt x="2481707" y="247147"/>
                  </a:cubicBezTo>
                  <a:cubicBezTo>
                    <a:pt x="2505725" y="401946"/>
                    <a:pt x="2698833" y="410410"/>
                    <a:pt x="2579400" y="576854"/>
                  </a:cubicBezTo>
                  <a:cubicBezTo>
                    <a:pt x="2523412" y="654877"/>
                    <a:pt x="2439816" y="760822"/>
                    <a:pt x="2377989" y="832667"/>
                  </a:cubicBezTo>
                  <a:cubicBezTo>
                    <a:pt x="2304004" y="918638"/>
                    <a:pt x="2208521" y="909487"/>
                    <a:pt x="2083954" y="878331"/>
                  </a:cubicBezTo>
                  <a:cubicBezTo>
                    <a:pt x="1936665" y="841492"/>
                    <a:pt x="1900786" y="820910"/>
                    <a:pt x="1748339" y="865915"/>
                  </a:cubicBezTo>
                  <a:cubicBezTo>
                    <a:pt x="1657665" y="892683"/>
                    <a:pt x="1554316" y="888008"/>
                    <a:pt x="1554214" y="993871"/>
                  </a:cubicBezTo>
                  <a:cubicBezTo>
                    <a:pt x="1554165" y="1045921"/>
                    <a:pt x="1581172" y="1075784"/>
                    <a:pt x="1617667" y="1103806"/>
                  </a:cubicBezTo>
                  <a:cubicBezTo>
                    <a:pt x="1696111" y="1164036"/>
                    <a:pt x="1827672" y="1171659"/>
                    <a:pt x="1676726" y="1271187"/>
                  </a:cubicBezTo>
                  <a:cubicBezTo>
                    <a:pt x="1566337" y="1343973"/>
                    <a:pt x="1388995" y="1343296"/>
                    <a:pt x="1259590" y="1366332"/>
                  </a:cubicBezTo>
                  <a:cubicBezTo>
                    <a:pt x="1136302" y="1388280"/>
                    <a:pt x="1046133" y="1376633"/>
                    <a:pt x="958841" y="1269206"/>
                  </a:cubicBezTo>
                  <a:cubicBezTo>
                    <a:pt x="857855" y="1144925"/>
                    <a:pt x="916571" y="1114692"/>
                    <a:pt x="953939" y="1001887"/>
                  </a:cubicBezTo>
                  <a:cubicBezTo>
                    <a:pt x="1010762" y="830355"/>
                    <a:pt x="781410" y="781894"/>
                    <a:pt x="633792" y="785111"/>
                  </a:cubicBezTo>
                  <a:cubicBezTo>
                    <a:pt x="556385" y="786799"/>
                    <a:pt x="483753" y="803740"/>
                    <a:pt x="448449" y="877423"/>
                  </a:cubicBezTo>
                  <a:cubicBezTo>
                    <a:pt x="398608" y="981446"/>
                    <a:pt x="490589" y="1039611"/>
                    <a:pt x="492621" y="1128686"/>
                  </a:cubicBezTo>
                  <a:cubicBezTo>
                    <a:pt x="497375" y="1337041"/>
                    <a:pt x="194787" y="1364584"/>
                    <a:pt x="82691" y="1489039"/>
                  </a:cubicBezTo>
                  <a:cubicBezTo>
                    <a:pt x="54745" y="1520064"/>
                    <a:pt x="27411" y="1552187"/>
                    <a:pt x="5" y="1584476"/>
                  </a:cubicBezTo>
                  <a:lnTo>
                    <a:pt x="3053590" y="1584476"/>
                  </a:lnTo>
                  <a:lnTo>
                    <a:pt x="3053590" y="459040"/>
                  </a:lnTo>
                  <a:cubicBezTo>
                    <a:pt x="3003663" y="319003"/>
                    <a:pt x="2950589" y="160844"/>
                    <a:pt x="2848044" y="6628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2" name="Google Shape;242;p13"/>
            <p:cNvSpPr/>
            <p:nvPr/>
          </p:nvSpPr>
          <p:spPr>
            <a:xfrm rot="10800000" flipH="1">
              <a:off x="-313990" y="4604001"/>
              <a:ext cx="3230757" cy="1138290"/>
            </a:xfrm>
            <a:custGeom>
              <a:avLst/>
              <a:gdLst/>
              <a:ahLst/>
              <a:cxnLst/>
              <a:rect l="l" t="t" r="r" b="b"/>
              <a:pathLst>
                <a:path w="3230757" h="1138290" extrusionOk="0">
                  <a:moveTo>
                    <a:pt x="1065187" y="826826"/>
                  </a:moveTo>
                  <a:cubicBezTo>
                    <a:pt x="1375474" y="920936"/>
                    <a:pt x="1661584" y="990846"/>
                    <a:pt x="2008139" y="994880"/>
                  </a:cubicBezTo>
                  <a:cubicBezTo>
                    <a:pt x="2307681" y="998913"/>
                    <a:pt x="3324511" y="922280"/>
                    <a:pt x="3223768" y="559284"/>
                  </a:cubicBezTo>
                  <a:cubicBezTo>
                    <a:pt x="3164666" y="348208"/>
                    <a:pt x="2619312" y="353586"/>
                    <a:pt x="2521255" y="151921"/>
                  </a:cubicBezTo>
                  <a:cubicBezTo>
                    <a:pt x="2494391" y="95455"/>
                    <a:pt x="2503793" y="45711"/>
                    <a:pt x="2537374" y="0"/>
                  </a:cubicBezTo>
                  <a:lnTo>
                    <a:pt x="0" y="0"/>
                  </a:lnTo>
                  <a:lnTo>
                    <a:pt x="0" y="1105123"/>
                  </a:lnTo>
                  <a:cubicBezTo>
                    <a:pt x="436552" y="1187133"/>
                    <a:pt x="844896" y="1125289"/>
                    <a:pt x="1065187" y="8268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43" name="Google Shape;243;p13"/>
          <p:cNvGrpSpPr/>
          <p:nvPr/>
        </p:nvGrpSpPr>
        <p:grpSpPr>
          <a:xfrm>
            <a:off x="-881847" y="-1038636"/>
            <a:ext cx="15454432" cy="6905829"/>
            <a:chOff x="-661385" y="-778977"/>
            <a:chExt cx="11590824" cy="5179372"/>
          </a:xfrm>
        </p:grpSpPr>
        <p:sp>
          <p:nvSpPr>
            <p:cNvPr id="244" name="Google Shape;244;p13"/>
            <p:cNvSpPr/>
            <p:nvPr/>
          </p:nvSpPr>
          <p:spPr>
            <a:xfrm rot="5869745" flipH="1">
              <a:off x="8615786" y="2097069"/>
              <a:ext cx="2241707" cy="2099810"/>
            </a:xfrm>
            <a:custGeom>
              <a:avLst/>
              <a:gdLst/>
              <a:ahLst/>
              <a:cxnLst/>
              <a:rect l="l" t="t" r="r" b="b"/>
              <a:pathLst>
                <a:path w="1850676" h="1733531" extrusionOk="0">
                  <a:moveTo>
                    <a:pt x="1392436" y="1733532"/>
                  </a:moveTo>
                  <a:cubicBezTo>
                    <a:pt x="1356116" y="1733435"/>
                    <a:pt x="1320056" y="1727407"/>
                    <a:pt x="1285678" y="1715686"/>
                  </a:cubicBezTo>
                  <a:cubicBezTo>
                    <a:pt x="1236246" y="1699120"/>
                    <a:pt x="1202707" y="1667331"/>
                    <a:pt x="1170265" y="1636579"/>
                  </a:cubicBezTo>
                  <a:cubicBezTo>
                    <a:pt x="1134465" y="1602648"/>
                    <a:pt x="1100652" y="1570585"/>
                    <a:pt x="1046178" y="1557516"/>
                  </a:cubicBezTo>
                  <a:cubicBezTo>
                    <a:pt x="936663" y="1531212"/>
                    <a:pt x="787034" y="1537364"/>
                    <a:pt x="645934" y="1573962"/>
                  </a:cubicBezTo>
                  <a:cubicBezTo>
                    <a:pt x="619752" y="1580748"/>
                    <a:pt x="594312" y="1588649"/>
                    <a:pt x="569708" y="1596287"/>
                  </a:cubicBezTo>
                  <a:cubicBezTo>
                    <a:pt x="501149" y="1617576"/>
                    <a:pt x="436413" y="1637672"/>
                    <a:pt x="358035" y="1635267"/>
                  </a:cubicBezTo>
                  <a:cubicBezTo>
                    <a:pt x="254669" y="1632077"/>
                    <a:pt x="171648" y="1597009"/>
                    <a:pt x="111287" y="1531026"/>
                  </a:cubicBezTo>
                  <a:cubicBezTo>
                    <a:pt x="1920" y="1411486"/>
                    <a:pt x="-4410" y="1219941"/>
                    <a:pt x="1554" y="1116410"/>
                  </a:cubicBezTo>
                  <a:cubicBezTo>
                    <a:pt x="8107" y="1002705"/>
                    <a:pt x="65082" y="916910"/>
                    <a:pt x="120184" y="833934"/>
                  </a:cubicBezTo>
                  <a:cubicBezTo>
                    <a:pt x="156891" y="778660"/>
                    <a:pt x="194848" y="721507"/>
                    <a:pt x="216967" y="656868"/>
                  </a:cubicBezTo>
                  <a:cubicBezTo>
                    <a:pt x="240961" y="586755"/>
                    <a:pt x="215209" y="540235"/>
                    <a:pt x="182615" y="481334"/>
                  </a:cubicBezTo>
                  <a:cubicBezTo>
                    <a:pt x="172598" y="463226"/>
                    <a:pt x="162238" y="444518"/>
                    <a:pt x="152740" y="423951"/>
                  </a:cubicBezTo>
                  <a:cubicBezTo>
                    <a:pt x="135263" y="386107"/>
                    <a:pt x="109998" y="314530"/>
                    <a:pt x="137219" y="260338"/>
                  </a:cubicBezTo>
                  <a:cubicBezTo>
                    <a:pt x="151932" y="231046"/>
                    <a:pt x="179130" y="211474"/>
                    <a:pt x="218109" y="202115"/>
                  </a:cubicBezTo>
                  <a:cubicBezTo>
                    <a:pt x="233358" y="184870"/>
                    <a:pt x="291950" y="118603"/>
                    <a:pt x="292911" y="117516"/>
                  </a:cubicBezTo>
                  <a:cubicBezTo>
                    <a:pt x="386915" y="11220"/>
                    <a:pt x="545185" y="-46895"/>
                    <a:pt x="665864" y="47653"/>
                  </a:cubicBezTo>
                  <a:cubicBezTo>
                    <a:pt x="728262" y="96551"/>
                    <a:pt x="749163" y="170319"/>
                    <a:pt x="755706" y="223593"/>
                  </a:cubicBezTo>
                  <a:cubicBezTo>
                    <a:pt x="757972" y="242056"/>
                    <a:pt x="759469" y="260600"/>
                    <a:pt x="760911" y="278544"/>
                  </a:cubicBezTo>
                  <a:cubicBezTo>
                    <a:pt x="768322" y="370622"/>
                    <a:pt x="774723" y="450145"/>
                    <a:pt x="879443" y="483377"/>
                  </a:cubicBezTo>
                  <a:cubicBezTo>
                    <a:pt x="947576" y="504993"/>
                    <a:pt x="1018346" y="489694"/>
                    <a:pt x="1065714" y="473050"/>
                  </a:cubicBezTo>
                  <a:cubicBezTo>
                    <a:pt x="1076682" y="469192"/>
                    <a:pt x="1087522" y="464920"/>
                    <a:pt x="1098369" y="460647"/>
                  </a:cubicBezTo>
                  <a:cubicBezTo>
                    <a:pt x="1124661" y="449293"/>
                    <a:pt x="1152031" y="440620"/>
                    <a:pt x="1180062" y="434759"/>
                  </a:cubicBezTo>
                  <a:cubicBezTo>
                    <a:pt x="1214374" y="428050"/>
                    <a:pt x="1249918" y="436281"/>
                    <a:pt x="1277792" y="457391"/>
                  </a:cubicBezTo>
                  <a:cubicBezTo>
                    <a:pt x="1333641" y="498676"/>
                    <a:pt x="1362178" y="582722"/>
                    <a:pt x="1370256" y="647613"/>
                  </a:cubicBezTo>
                  <a:cubicBezTo>
                    <a:pt x="1376171" y="695128"/>
                    <a:pt x="1366482" y="741538"/>
                    <a:pt x="1357110" y="786420"/>
                  </a:cubicBezTo>
                  <a:cubicBezTo>
                    <a:pt x="1346280" y="838283"/>
                    <a:pt x="1336055" y="887262"/>
                    <a:pt x="1348721" y="936350"/>
                  </a:cubicBezTo>
                  <a:cubicBezTo>
                    <a:pt x="1354781" y="963365"/>
                    <a:pt x="1371188" y="986926"/>
                    <a:pt x="1394418" y="1001973"/>
                  </a:cubicBezTo>
                  <a:cubicBezTo>
                    <a:pt x="1424582" y="1019698"/>
                    <a:pt x="1464577" y="1012038"/>
                    <a:pt x="1506920" y="1003929"/>
                  </a:cubicBezTo>
                  <a:cubicBezTo>
                    <a:pt x="1559777" y="993810"/>
                    <a:pt x="1614425" y="983374"/>
                    <a:pt x="1655720" y="1022758"/>
                  </a:cubicBezTo>
                  <a:cubicBezTo>
                    <a:pt x="1673891" y="1040100"/>
                    <a:pt x="1678746" y="1063803"/>
                    <a:pt x="1683027" y="1084719"/>
                  </a:cubicBezTo>
                  <a:cubicBezTo>
                    <a:pt x="1684027" y="1089615"/>
                    <a:pt x="1685022" y="1094488"/>
                    <a:pt x="1686191" y="1099232"/>
                  </a:cubicBezTo>
                  <a:cubicBezTo>
                    <a:pt x="1695508" y="1137085"/>
                    <a:pt x="1722384" y="1162165"/>
                    <a:pt x="1750838" y="1188709"/>
                  </a:cubicBezTo>
                  <a:cubicBezTo>
                    <a:pt x="1769456" y="1205017"/>
                    <a:pt x="1786430" y="1223113"/>
                    <a:pt x="1801516" y="1242737"/>
                  </a:cubicBezTo>
                  <a:cubicBezTo>
                    <a:pt x="1812476" y="1257849"/>
                    <a:pt x="1821933" y="1273997"/>
                    <a:pt x="1829752" y="1290951"/>
                  </a:cubicBezTo>
                  <a:lnTo>
                    <a:pt x="1829752" y="1290951"/>
                  </a:lnTo>
                  <a:cubicBezTo>
                    <a:pt x="1913620" y="1473840"/>
                    <a:pt x="1725044" y="1592026"/>
                    <a:pt x="1623732" y="1655528"/>
                  </a:cubicBezTo>
                  <a:cubicBezTo>
                    <a:pt x="1562262" y="1694048"/>
                    <a:pt x="1484523" y="1733532"/>
                    <a:pt x="1392436" y="1733532"/>
                  </a:cubicBezTo>
                  <a:close/>
                  <a:moveTo>
                    <a:pt x="894484" y="1507881"/>
                  </a:moveTo>
                  <a:cubicBezTo>
                    <a:pt x="948137" y="1507342"/>
                    <a:pt x="1001671" y="1513041"/>
                    <a:pt x="1054010" y="1524863"/>
                  </a:cubicBezTo>
                  <a:cubicBezTo>
                    <a:pt x="1117211" y="1540042"/>
                    <a:pt x="1155918" y="1576727"/>
                    <a:pt x="1193345" y="1612210"/>
                  </a:cubicBezTo>
                  <a:cubicBezTo>
                    <a:pt x="1224509" y="1641748"/>
                    <a:pt x="1253941" y="1669647"/>
                    <a:pt x="1296340" y="1683864"/>
                  </a:cubicBezTo>
                  <a:cubicBezTo>
                    <a:pt x="1396340" y="1717359"/>
                    <a:pt x="1488930" y="1700409"/>
                    <a:pt x="1605916" y="1627072"/>
                  </a:cubicBezTo>
                  <a:cubicBezTo>
                    <a:pt x="1734088" y="1546741"/>
                    <a:pt x="1865301" y="1448980"/>
                    <a:pt x="1799256" y="1304950"/>
                  </a:cubicBezTo>
                  <a:lnTo>
                    <a:pt x="1799256" y="1304960"/>
                  </a:lnTo>
                  <a:cubicBezTo>
                    <a:pt x="1792352" y="1289997"/>
                    <a:pt x="1784004" y="1275745"/>
                    <a:pt x="1774328" y="1262407"/>
                  </a:cubicBezTo>
                  <a:cubicBezTo>
                    <a:pt x="1760504" y="1244557"/>
                    <a:pt x="1744972" y="1228098"/>
                    <a:pt x="1727954" y="1213264"/>
                  </a:cubicBezTo>
                  <a:cubicBezTo>
                    <a:pt x="1697157" y="1184523"/>
                    <a:pt x="1665311" y="1154821"/>
                    <a:pt x="1653607" y="1107253"/>
                  </a:cubicBezTo>
                  <a:cubicBezTo>
                    <a:pt x="1652334" y="1102084"/>
                    <a:pt x="1651247" y="1096783"/>
                    <a:pt x="1650155" y="1091461"/>
                  </a:cubicBezTo>
                  <a:cubicBezTo>
                    <a:pt x="1646539" y="1073813"/>
                    <a:pt x="1643126" y="1057137"/>
                    <a:pt x="1632557" y="1047050"/>
                  </a:cubicBezTo>
                  <a:cubicBezTo>
                    <a:pt x="1603749" y="1019577"/>
                    <a:pt x="1559771" y="1027992"/>
                    <a:pt x="1513228" y="1036909"/>
                  </a:cubicBezTo>
                  <a:cubicBezTo>
                    <a:pt x="1466646" y="1045826"/>
                    <a:pt x="1418487" y="1055060"/>
                    <a:pt x="1377422" y="1030910"/>
                  </a:cubicBezTo>
                  <a:cubicBezTo>
                    <a:pt x="1346504" y="1011344"/>
                    <a:pt x="1324525" y="980391"/>
                    <a:pt x="1316236" y="944743"/>
                  </a:cubicBezTo>
                  <a:cubicBezTo>
                    <a:pt x="1301605" y="888060"/>
                    <a:pt x="1313122" y="832907"/>
                    <a:pt x="1324264" y="779557"/>
                  </a:cubicBezTo>
                  <a:cubicBezTo>
                    <a:pt x="1333478" y="735419"/>
                    <a:pt x="1342184" y="693729"/>
                    <a:pt x="1336962" y="651766"/>
                  </a:cubicBezTo>
                  <a:cubicBezTo>
                    <a:pt x="1330070" y="596437"/>
                    <a:pt x="1305214" y="519396"/>
                    <a:pt x="1257851" y="484393"/>
                  </a:cubicBezTo>
                  <a:cubicBezTo>
                    <a:pt x="1237376" y="468739"/>
                    <a:pt x="1211140" y="462700"/>
                    <a:pt x="1185885" y="467827"/>
                  </a:cubicBezTo>
                  <a:cubicBezTo>
                    <a:pt x="1160066" y="473309"/>
                    <a:pt x="1134862" y="481371"/>
                    <a:pt x="1110652" y="491890"/>
                  </a:cubicBezTo>
                  <a:cubicBezTo>
                    <a:pt x="1099429" y="496316"/>
                    <a:pt x="1088195" y="500731"/>
                    <a:pt x="1076834" y="504719"/>
                  </a:cubicBezTo>
                  <a:cubicBezTo>
                    <a:pt x="1024633" y="523056"/>
                    <a:pt x="946254" y="539820"/>
                    <a:pt x="869296" y="515374"/>
                  </a:cubicBezTo>
                  <a:cubicBezTo>
                    <a:pt x="743085" y="475323"/>
                    <a:pt x="735143" y="376655"/>
                    <a:pt x="727464" y="281243"/>
                  </a:cubicBezTo>
                  <a:cubicBezTo>
                    <a:pt x="726050" y="263650"/>
                    <a:pt x="724581" y="245454"/>
                    <a:pt x="722401" y="227691"/>
                  </a:cubicBezTo>
                  <a:cubicBezTo>
                    <a:pt x="716628" y="180701"/>
                    <a:pt x="698539" y="115904"/>
                    <a:pt x="645175" y="74082"/>
                  </a:cubicBezTo>
                  <a:cubicBezTo>
                    <a:pt x="540822" y="-7663"/>
                    <a:pt x="401639" y="45227"/>
                    <a:pt x="318077" y="139721"/>
                  </a:cubicBezTo>
                  <a:lnTo>
                    <a:pt x="317362" y="139087"/>
                  </a:lnTo>
                  <a:cubicBezTo>
                    <a:pt x="309683" y="149218"/>
                    <a:pt x="290010" y="171461"/>
                    <a:pt x="239650" y="228417"/>
                  </a:cubicBezTo>
                  <a:lnTo>
                    <a:pt x="235969" y="232587"/>
                  </a:lnTo>
                  <a:lnTo>
                    <a:pt x="230528" y="233728"/>
                  </a:lnTo>
                  <a:cubicBezTo>
                    <a:pt x="199087" y="240324"/>
                    <a:pt x="177781" y="254349"/>
                    <a:pt x="167202" y="275408"/>
                  </a:cubicBezTo>
                  <a:cubicBezTo>
                    <a:pt x="146307" y="317021"/>
                    <a:pt x="168257" y="377519"/>
                    <a:pt x="183205" y="409876"/>
                  </a:cubicBezTo>
                  <a:cubicBezTo>
                    <a:pt x="192189" y="429327"/>
                    <a:pt x="202243" y="447501"/>
                    <a:pt x="211971" y="465073"/>
                  </a:cubicBezTo>
                  <a:cubicBezTo>
                    <a:pt x="245684" y="525996"/>
                    <a:pt x="277531" y="583531"/>
                    <a:pt x="248710" y="667753"/>
                  </a:cubicBezTo>
                  <a:cubicBezTo>
                    <a:pt x="225193" y="736479"/>
                    <a:pt x="186018" y="795468"/>
                    <a:pt x="148135" y="852511"/>
                  </a:cubicBezTo>
                  <a:cubicBezTo>
                    <a:pt x="93084" y="935410"/>
                    <a:pt x="41084" y="1013709"/>
                    <a:pt x="35055" y="1118333"/>
                  </a:cubicBezTo>
                  <a:cubicBezTo>
                    <a:pt x="29396" y="1216586"/>
                    <a:pt x="34989" y="1397914"/>
                    <a:pt x="136039" y="1508362"/>
                  </a:cubicBezTo>
                  <a:cubicBezTo>
                    <a:pt x="190059" y="1567406"/>
                    <a:pt x="265095" y="1598812"/>
                    <a:pt x="359071" y="1601719"/>
                  </a:cubicBezTo>
                  <a:cubicBezTo>
                    <a:pt x="431798" y="1603937"/>
                    <a:pt x="493967" y="1584650"/>
                    <a:pt x="559762" y="1564225"/>
                  </a:cubicBezTo>
                  <a:cubicBezTo>
                    <a:pt x="584737" y="1556477"/>
                    <a:pt x="610560" y="1548456"/>
                    <a:pt x="637513" y="1541462"/>
                  </a:cubicBezTo>
                  <a:cubicBezTo>
                    <a:pt x="721437" y="1519605"/>
                    <a:pt x="807763" y="1508324"/>
                    <a:pt x="894484" y="15078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45" name="Google Shape;245;p13"/>
            <p:cNvSpPr/>
            <p:nvPr/>
          </p:nvSpPr>
          <p:spPr>
            <a:xfrm flipH="1">
              <a:off x="-661385" y="-778977"/>
              <a:ext cx="2346433" cy="1683429"/>
            </a:xfrm>
            <a:custGeom>
              <a:avLst/>
              <a:gdLst/>
              <a:ahLst/>
              <a:cxnLst/>
              <a:rect l="l" t="t" r="r" b="b"/>
              <a:pathLst>
                <a:path w="1939201" h="1391264" extrusionOk="0">
                  <a:moveTo>
                    <a:pt x="1267674" y="1391264"/>
                  </a:moveTo>
                  <a:cubicBezTo>
                    <a:pt x="1161742" y="1391274"/>
                    <a:pt x="1046799" y="1287114"/>
                    <a:pt x="965193" y="1203161"/>
                  </a:cubicBezTo>
                  <a:cubicBezTo>
                    <a:pt x="929503" y="1165024"/>
                    <a:pt x="896376" y="1124564"/>
                    <a:pt x="866032" y="1082047"/>
                  </a:cubicBezTo>
                  <a:cubicBezTo>
                    <a:pt x="780319" y="967117"/>
                    <a:pt x="712597" y="876356"/>
                    <a:pt x="543692" y="913489"/>
                  </a:cubicBezTo>
                  <a:cubicBezTo>
                    <a:pt x="371403" y="951404"/>
                    <a:pt x="246890" y="922045"/>
                    <a:pt x="139974" y="818388"/>
                  </a:cubicBezTo>
                  <a:cubicBezTo>
                    <a:pt x="31933" y="713650"/>
                    <a:pt x="-22125" y="551021"/>
                    <a:pt x="8504" y="422897"/>
                  </a:cubicBezTo>
                  <a:cubicBezTo>
                    <a:pt x="39606" y="285532"/>
                    <a:pt x="127951" y="168035"/>
                    <a:pt x="251249" y="100053"/>
                  </a:cubicBezTo>
                  <a:cubicBezTo>
                    <a:pt x="484707" y="-34531"/>
                    <a:pt x="799358" y="-12948"/>
                    <a:pt x="997853" y="46424"/>
                  </a:cubicBezTo>
                  <a:cubicBezTo>
                    <a:pt x="1100519" y="77131"/>
                    <a:pt x="1189137" y="140666"/>
                    <a:pt x="1274841" y="202108"/>
                  </a:cubicBezTo>
                  <a:cubicBezTo>
                    <a:pt x="1365470" y="267085"/>
                    <a:pt x="1451073" y="328457"/>
                    <a:pt x="1550977" y="353335"/>
                  </a:cubicBezTo>
                  <a:cubicBezTo>
                    <a:pt x="1560483" y="355578"/>
                    <a:pt x="1570377" y="355617"/>
                    <a:pt x="1579900" y="353449"/>
                  </a:cubicBezTo>
                  <a:cubicBezTo>
                    <a:pt x="1591653" y="351051"/>
                    <a:pt x="1603746" y="350842"/>
                    <a:pt x="1615574" y="352831"/>
                  </a:cubicBezTo>
                  <a:cubicBezTo>
                    <a:pt x="1805092" y="387583"/>
                    <a:pt x="1821071" y="429005"/>
                    <a:pt x="1826325" y="442616"/>
                  </a:cubicBezTo>
                  <a:cubicBezTo>
                    <a:pt x="1830697" y="453810"/>
                    <a:pt x="1830174" y="466325"/>
                    <a:pt x="1824884" y="477115"/>
                  </a:cubicBezTo>
                  <a:cubicBezTo>
                    <a:pt x="1933700" y="626500"/>
                    <a:pt x="2000856" y="937470"/>
                    <a:pt x="1857009" y="1086811"/>
                  </a:cubicBezTo>
                  <a:cubicBezTo>
                    <a:pt x="1764304" y="1183064"/>
                    <a:pt x="1703037" y="1183485"/>
                    <a:pt x="1585285" y="1161476"/>
                  </a:cubicBezTo>
                  <a:lnTo>
                    <a:pt x="1574111" y="1159361"/>
                  </a:lnTo>
                  <a:cubicBezTo>
                    <a:pt x="1517694" y="1148635"/>
                    <a:pt x="1505984" y="1146423"/>
                    <a:pt x="1468289" y="1184895"/>
                  </a:cubicBezTo>
                  <a:cubicBezTo>
                    <a:pt x="1448637" y="1204969"/>
                    <a:pt x="1435213" y="1233109"/>
                    <a:pt x="1420992" y="1262899"/>
                  </a:cubicBezTo>
                  <a:cubicBezTo>
                    <a:pt x="1397551" y="1312041"/>
                    <a:pt x="1373301" y="1362851"/>
                    <a:pt x="1317594" y="1382778"/>
                  </a:cubicBezTo>
                  <a:cubicBezTo>
                    <a:pt x="1301569" y="1388468"/>
                    <a:pt x="1284680" y="1391339"/>
                    <a:pt x="1267675" y="1391264"/>
                  </a:cubicBezTo>
                  <a:close/>
                  <a:moveTo>
                    <a:pt x="615008" y="871547"/>
                  </a:moveTo>
                  <a:cubicBezTo>
                    <a:pt x="750914" y="871547"/>
                    <a:pt x="820199" y="964457"/>
                    <a:pt x="892925" y="1061966"/>
                  </a:cubicBezTo>
                  <a:cubicBezTo>
                    <a:pt x="922415" y="1103299"/>
                    <a:pt x="954592" y="1142646"/>
                    <a:pt x="989245" y="1179753"/>
                  </a:cubicBezTo>
                  <a:cubicBezTo>
                    <a:pt x="1040059" y="1232027"/>
                    <a:pt x="1194589" y="1391127"/>
                    <a:pt x="1306300" y="1351164"/>
                  </a:cubicBezTo>
                  <a:cubicBezTo>
                    <a:pt x="1348976" y="1335897"/>
                    <a:pt x="1369249" y="1293414"/>
                    <a:pt x="1390712" y="1248441"/>
                  </a:cubicBezTo>
                  <a:cubicBezTo>
                    <a:pt x="1405480" y="1217482"/>
                    <a:pt x="1420762" y="1185468"/>
                    <a:pt x="1444323" y="1161400"/>
                  </a:cubicBezTo>
                  <a:cubicBezTo>
                    <a:pt x="1494591" y="1110072"/>
                    <a:pt x="1521473" y="1115163"/>
                    <a:pt x="1580382" y="1126382"/>
                  </a:cubicBezTo>
                  <a:lnTo>
                    <a:pt x="1591446" y="1128474"/>
                  </a:lnTo>
                  <a:cubicBezTo>
                    <a:pt x="1701464" y="1149041"/>
                    <a:pt x="1750749" y="1148762"/>
                    <a:pt x="1832847" y="1063513"/>
                  </a:cubicBezTo>
                  <a:cubicBezTo>
                    <a:pt x="1962886" y="928504"/>
                    <a:pt x="1898375" y="626292"/>
                    <a:pt x="1791426" y="488442"/>
                  </a:cubicBezTo>
                  <a:lnTo>
                    <a:pt x="1783496" y="478230"/>
                  </a:lnTo>
                  <a:lnTo>
                    <a:pt x="1791350" y="467957"/>
                  </a:lnTo>
                  <a:cubicBezTo>
                    <a:pt x="1797183" y="460308"/>
                    <a:pt x="1795730" y="456526"/>
                    <a:pt x="1795020" y="454707"/>
                  </a:cubicBezTo>
                  <a:cubicBezTo>
                    <a:pt x="1788029" y="436583"/>
                    <a:pt x="1735621" y="408974"/>
                    <a:pt x="1609524" y="385856"/>
                  </a:cubicBezTo>
                  <a:cubicBezTo>
                    <a:pt x="1601425" y="384582"/>
                    <a:pt x="1593160" y="384836"/>
                    <a:pt x="1585154" y="386605"/>
                  </a:cubicBezTo>
                  <a:cubicBezTo>
                    <a:pt x="1571184" y="389528"/>
                    <a:pt x="1556738" y="389291"/>
                    <a:pt x="1542871" y="385911"/>
                  </a:cubicBezTo>
                  <a:cubicBezTo>
                    <a:pt x="1436743" y="359482"/>
                    <a:pt x="1344497" y="293351"/>
                    <a:pt x="1255288" y="229396"/>
                  </a:cubicBezTo>
                  <a:cubicBezTo>
                    <a:pt x="1171836" y="169560"/>
                    <a:pt x="1085533" y="107686"/>
                    <a:pt x="988240" y="78584"/>
                  </a:cubicBezTo>
                  <a:cubicBezTo>
                    <a:pt x="780953" y="16580"/>
                    <a:pt x="477858" y="8170"/>
                    <a:pt x="267992" y="129143"/>
                  </a:cubicBezTo>
                  <a:cubicBezTo>
                    <a:pt x="152786" y="192628"/>
                    <a:pt x="70224" y="302382"/>
                    <a:pt x="41142" y="430710"/>
                  </a:cubicBezTo>
                  <a:cubicBezTo>
                    <a:pt x="13124" y="547873"/>
                    <a:pt x="63371" y="697384"/>
                    <a:pt x="163328" y="794281"/>
                  </a:cubicBezTo>
                  <a:cubicBezTo>
                    <a:pt x="261275" y="889235"/>
                    <a:pt x="376328" y="915899"/>
                    <a:pt x="536482" y="880705"/>
                  </a:cubicBezTo>
                  <a:cubicBezTo>
                    <a:pt x="562250" y="874823"/>
                    <a:pt x="588579" y="871752"/>
                    <a:pt x="615008" y="87154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46" name="Google Shape;246;p13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247" name="Google Shape;247;p13"/>
          <p:cNvSpPr txBox="1">
            <a:spLocks noGrp="1"/>
          </p:cNvSpPr>
          <p:nvPr>
            <p:ph type="body" idx="1"/>
          </p:nvPr>
        </p:nvSpPr>
        <p:spPr>
          <a:xfrm>
            <a:off x="960000" y="1519400"/>
            <a:ext cx="5136000" cy="451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Nunito Light"/>
              <a:buChar char="●"/>
              <a:defRPr/>
            </a:lvl1pPr>
            <a:lvl2pPr marL="1219170" lvl="1" indent="-423323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2pPr>
            <a:lvl3pPr marL="1828754" lvl="2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3pPr>
            <a:lvl4pPr marL="2438339" lvl="3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4pPr>
            <a:lvl5pPr marL="3047924" lvl="4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5pPr>
            <a:lvl6pPr marL="3657509" lvl="5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6pPr>
            <a:lvl7pPr marL="4267093" lvl="6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7pPr>
            <a:lvl8pPr marL="4876678" lvl="7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8pPr>
            <a:lvl9pPr marL="5486263" lvl="8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9pPr>
          </a:lstStyle>
          <a:p>
            <a:endParaRPr/>
          </a:p>
        </p:txBody>
      </p:sp>
      <p:sp>
        <p:nvSpPr>
          <p:cNvPr id="248" name="Google Shape;248;p13"/>
          <p:cNvSpPr txBox="1">
            <a:spLocks noGrp="1"/>
          </p:cNvSpPr>
          <p:nvPr>
            <p:ph type="body" idx="2"/>
          </p:nvPr>
        </p:nvSpPr>
        <p:spPr>
          <a:xfrm>
            <a:off x="6096000" y="1519400"/>
            <a:ext cx="5136000" cy="451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609585" lvl="0" indent="-423323" rtl="0"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400"/>
              <a:buFont typeface="Nunito Light"/>
              <a:buChar char="●"/>
              <a:defRPr/>
            </a:lvl1pPr>
            <a:lvl2pPr marL="1219170" lvl="1" indent="-423323" rtl="0">
              <a:lnSpc>
                <a:spcPct val="100000"/>
              </a:lnSpc>
              <a:spcBef>
                <a:spcPts val="1333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2pPr>
            <a:lvl3pPr marL="1828754" lvl="2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3pPr>
            <a:lvl4pPr marL="2438339" lvl="3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4pPr>
            <a:lvl5pPr marL="3047924" lvl="4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5pPr>
            <a:lvl6pPr marL="3657509" lvl="5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6pPr>
            <a:lvl7pPr marL="4267093" lvl="6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●"/>
              <a:defRPr/>
            </a:lvl7pPr>
            <a:lvl8pPr marL="4876678" lvl="7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○"/>
              <a:defRPr/>
            </a:lvl8pPr>
            <a:lvl9pPr marL="5486263" lvl="8" indent="-42332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Font typeface="Nunito Light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CUSTOM_6">
    <p:spTree>
      <p:nvGrpSpPr>
        <p:cNvPr id="1" name="Shape 2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0" name="Google Shape;250;p14"/>
          <p:cNvGrpSpPr/>
          <p:nvPr/>
        </p:nvGrpSpPr>
        <p:grpSpPr>
          <a:xfrm>
            <a:off x="-1073848" y="-578380"/>
            <a:ext cx="14086152" cy="8152307"/>
            <a:chOff x="-805386" y="-433785"/>
            <a:chExt cx="10564614" cy="6114230"/>
          </a:xfrm>
        </p:grpSpPr>
        <p:sp>
          <p:nvSpPr>
            <p:cNvPr id="251" name="Google Shape;251;p14"/>
            <p:cNvSpPr/>
            <p:nvPr/>
          </p:nvSpPr>
          <p:spPr>
            <a:xfrm>
              <a:off x="7795495" y="4209879"/>
              <a:ext cx="1963732" cy="1470566"/>
            </a:xfrm>
            <a:custGeom>
              <a:avLst/>
              <a:gdLst/>
              <a:ahLst/>
              <a:cxnLst/>
              <a:rect l="l" t="t" r="r" b="b"/>
              <a:pathLst>
                <a:path w="1402666" h="1050404" extrusionOk="0">
                  <a:moveTo>
                    <a:pt x="1390590" y="220010"/>
                  </a:moveTo>
                  <a:cubicBezTo>
                    <a:pt x="1341656" y="104986"/>
                    <a:pt x="1138665" y="63231"/>
                    <a:pt x="1049244" y="106992"/>
                  </a:cubicBezTo>
                  <a:lnTo>
                    <a:pt x="948311" y="82163"/>
                  </a:lnTo>
                  <a:cubicBezTo>
                    <a:pt x="819042" y="57271"/>
                    <a:pt x="735331" y="-84425"/>
                    <a:pt x="612165" y="73745"/>
                  </a:cubicBezTo>
                  <a:cubicBezTo>
                    <a:pt x="501913" y="215331"/>
                    <a:pt x="563541" y="450502"/>
                    <a:pt x="340053" y="432787"/>
                  </a:cubicBezTo>
                  <a:cubicBezTo>
                    <a:pt x="231164" y="424156"/>
                    <a:pt x="76410" y="304605"/>
                    <a:pt x="14694" y="484224"/>
                  </a:cubicBezTo>
                  <a:cubicBezTo>
                    <a:pt x="-24343" y="597837"/>
                    <a:pt x="21045" y="763789"/>
                    <a:pt x="73456" y="860376"/>
                  </a:cubicBezTo>
                  <a:cubicBezTo>
                    <a:pt x="150548" y="1002447"/>
                    <a:pt x="297363" y="1060394"/>
                    <a:pt x="431515" y="1049011"/>
                  </a:cubicBezTo>
                  <a:cubicBezTo>
                    <a:pt x="474640" y="1045350"/>
                    <a:pt x="576457" y="1035521"/>
                    <a:pt x="590571" y="970081"/>
                  </a:cubicBezTo>
                  <a:cubicBezTo>
                    <a:pt x="702824" y="957413"/>
                    <a:pt x="824497" y="986922"/>
                    <a:pt x="923115" y="908208"/>
                  </a:cubicBezTo>
                  <a:cubicBezTo>
                    <a:pt x="995072" y="850773"/>
                    <a:pt x="1060157" y="789017"/>
                    <a:pt x="1135455" y="736605"/>
                  </a:cubicBezTo>
                  <a:cubicBezTo>
                    <a:pt x="1190061" y="698594"/>
                    <a:pt x="1227392" y="675059"/>
                    <a:pt x="1259846" y="615198"/>
                  </a:cubicBezTo>
                  <a:cubicBezTo>
                    <a:pt x="1311976" y="519049"/>
                    <a:pt x="1442813" y="342768"/>
                    <a:pt x="1390590" y="2200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252" name="Google Shape;252;p14"/>
            <p:cNvGrpSpPr/>
            <p:nvPr/>
          </p:nvGrpSpPr>
          <p:grpSpPr>
            <a:xfrm>
              <a:off x="8153906" y="-433785"/>
              <a:ext cx="1579710" cy="1529704"/>
              <a:chOff x="6273623" y="1651506"/>
              <a:chExt cx="1210413" cy="1172097"/>
            </a:xfrm>
          </p:grpSpPr>
          <p:sp>
            <p:nvSpPr>
              <p:cNvPr id="253" name="Google Shape;253;p14"/>
              <p:cNvSpPr/>
              <p:nvPr/>
            </p:nvSpPr>
            <p:spPr>
              <a:xfrm>
                <a:off x="6387545" y="1784866"/>
                <a:ext cx="608609" cy="416340"/>
              </a:xfrm>
              <a:custGeom>
                <a:avLst/>
                <a:gdLst/>
                <a:ahLst/>
                <a:cxnLst/>
                <a:rect l="l" t="t" r="r" b="b"/>
                <a:pathLst>
                  <a:path w="608609" h="416340" extrusionOk="0">
                    <a:moveTo>
                      <a:pt x="480399" y="192190"/>
                    </a:moveTo>
                    <a:cubicBezTo>
                      <a:pt x="419908" y="152370"/>
                      <a:pt x="359912" y="107730"/>
                      <a:pt x="295403" y="75050"/>
                    </a:cubicBezTo>
                    <a:cubicBezTo>
                      <a:pt x="259584" y="56905"/>
                      <a:pt x="224520" y="30849"/>
                      <a:pt x="185928" y="19712"/>
                    </a:cubicBezTo>
                    <a:cubicBezTo>
                      <a:pt x="158485" y="10582"/>
                      <a:pt x="130200" y="4216"/>
                      <a:pt x="101493" y="709"/>
                    </a:cubicBezTo>
                    <a:cubicBezTo>
                      <a:pt x="68291" y="-1842"/>
                      <a:pt x="15787" y="944"/>
                      <a:pt x="3557" y="35403"/>
                    </a:cubicBezTo>
                    <a:cubicBezTo>
                      <a:pt x="-5327" y="60436"/>
                      <a:pt x="4714" y="96324"/>
                      <a:pt x="9166" y="122979"/>
                    </a:cubicBezTo>
                    <a:cubicBezTo>
                      <a:pt x="10340" y="136233"/>
                      <a:pt x="14721" y="149003"/>
                      <a:pt x="21932" y="160184"/>
                    </a:cubicBezTo>
                    <a:cubicBezTo>
                      <a:pt x="39678" y="186911"/>
                      <a:pt x="59830" y="211959"/>
                      <a:pt x="82135" y="235015"/>
                    </a:cubicBezTo>
                    <a:cubicBezTo>
                      <a:pt x="89828" y="243385"/>
                      <a:pt x="98485" y="250814"/>
                      <a:pt x="107924" y="257147"/>
                    </a:cubicBezTo>
                    <a:cubicBezTo>
                      <a:pt x="124223" y="266092"/>
                      <a:pt x="141308" y="273522"/>
                      <a:pt x="158965" y="279343"/>
                    </a:cubicBezTo>
                    <a:cubicBezTo>
                      <a:pt x="174102" y="284611"/>
                      <a:pt x="188676" y="290825"/>
                      <a:pt x="203694" y="296523"/>
                    </a:cubicBezTo>
                    <a:cubicBezTo>
                      <a:pt x="239435" y="310084"/>
                      <a:pt x="275071" y="319612"/>
                      <a:pt x="311310" y="330662"/>
                    </a:cubicBezTo>
                    <a:cubicBezTo>
                      <a:pt x="358976" y="345198"/>
                      <a:pt x="404708" y="366334"/>
                      <a:pt x="452077" y="382022"/>
                    </a:cubicBezTo>
                    <a:cubicBezTo>
                      <a:pt x="482261" y="392020"/>
                      <a:pt x="511435" y="405067"/>
                      <a:pt x="541219" y="416341"/>
                    </a:cubicBezTo>
                    <a:lnTo>
                      <a:pt x="608614" y="276496"/>
                    </a:lnTo>
                    <a:cubicBezTo>
                      <a:pt x="565789" y="248528"/>
                      <a:pt x="523051" y="220426"/>
                      <a:pt x="480399" y="19219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4" name="Google Shape;254;p14"/>
              <p:cNvSpPr/>
              <p:nvPr/>
            </p:nvSpPr>
            <p:spPr>
              <a:xfrm>
                <a:off x="6273623" y="2098417"/>
                <a:ext cx="572310" cy="357053"/>
              </a:xfrm>
              <a:custGeom>
                <a:avLst/>
                <a:gdLst/>
                <a:ahLst/>
                <a:cxnLst/>
                <a:rect l="l" t="t" r="r" b="b"/>
                <a:pathLst>
                  <a:path w="572310" h="357053" extrusionOk="0">
                    <a:moveTo>
                      <a:pt x="425798" y="175079"/>
                    </a:moveTo>
                    <a:cubicBezTo>
                      <a:pt x="399094" y="158337"/>
                      <a:pt x="370940" y="144324"/>
                      <a:pt x="344734" y="126715"/>
                    </a:cubicBezTo>
                    <a:cubicBezTo>
                      <a:pt x="291392" y="91488"/>
                      <a:pt x="235814" y="59773"/>
                      <a:pt x="178352" y="31773"/>
                    </a:cubicBezTo>
                    <a:cubicBezTo>
                      <a:pt x="157363" y="23060"/>
                      <a:pt x="135615" y="16304"/>
                      <a:pt x="113385" y="11590"/>
                    </a:cubicBezTo>
                    <a:cubicBezTo>
                      <a:pt x="100076" y="6607"/>
                      <a:pt x="86302" y="2971"/>
                      <a:pt x="72269" y="736"/>
                    </a:cubicBezTo>
                    <a:cubicBezTo>
                      <a:pt x="43571" y="-1795"/>
                      <a:pt x="12578" y="981"/>
                      <a:pt x="2477" y="28772"/>
                    </a:cubicBezTo>
                    <a:cubicBezTo>
                      <a:pt x="-5264" y="50070"/>
                      <a:pt x="6609" y="79033"/>
                      <a:pt x="18268" y="98709"/>
                    </a:cubicBezTo>
                    <a:cubicBezTo>
                      <a:pt x="35944" y="127406"/>
                      <a:pt x="56942" y="153919"/>
                      <a:pt x="80826" y="177697"/>
                    </a:cubicBezTo>
                    <a:cubicBezTo>
                      <a:pt x="110239" y="207502"/>
                      <a:pt x="155501" y="232116"/>
                      <a:pt x="193697" y="248881"/>
                    </a:cubicBezTo>
                    <a:cubicBezTo>
                      <a:pt x="264629" y="280450"/>
                      <a:pt x="338406" y="305188"/>
                      <a:pt x="414027" y="322757"/>
                    </a:cubicBezTo>
                    <a:cubicBezTo>
                      <a:pt x="447241" y="330287"/>
                      <a:pt x="480779" y="341369"/>
                      <a:pt x="513676" y="351089"/>
                    </a:cubicBezTo>
                    <a:cubicBezTo>
                      <a:pt x="520190" y="353013"/>
                      <a:pt x="526414" y="355014"/>
                      <a:pt x="532601" y="357053"/>
                    </a:cubicBezTo>
                    <a:lnTo>
                      <a:pt x="572315" y="274647"/>
                    </a:lnTo>
                    <a:cubicBezTo>
                      <a:pt x="542730" y="253682"/>
                      <a:pt x="513133" y="232816"/>
                      <a:pt x="483037" y="212997"/>
                    </a:cubicBezTo>
                    <a:cubicBezTo>
                      <a:pt x="463957" y="200433"/>
                      <a:pt x="445150" y="187212"/>
                      <a:pt x="425798" y="17507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5" name="Google Shape;255;p14"/>
              <p:cNvSpPr/>
              <p:nvPr/>
            </p:nvSpPr>
            <p:spPr>
              <a:xfrm>
                <a:off x="6711488" y="2455470"/>
                <a:ext cx="409719" cy="368133"/>
              </a:xfrm>
              <a:custGeom>
                <a:avLst/>
                <a:gdLst/>
                <a:ahLst/>
                <a:cxnLst/>
                <a:rect l="l" t="t" r="r" b="b"/>
                <a:pathLst>
                  <a:path w="409719" h="368133" extrusionOk="0">
                    <a:moveTo>
                      <a:pt x="67405" y="258859"/>
                    </a:moveTo>
                    <a:cubicBezTo>
                      <a:pt x="97664" y="284421"/>
                      <a:pt x="129874" y="307579"/>
                      <a:pt x="163740" y="328120"/>
                    </a:cubicBezTo>
                    <a:cubicBezTo>
                      <a:pt x="194307" y="348174"/>
                      <a:pt x="223086" y="365401"/>
                      <a:pt x="259128" y="367602"/>
                    </a:cubicBezTo>
                    <a:cubicBezTo>
                      <a:pt x="300952" y="370158"/>
                      <a:pt x="350576" y="364419"/>
                      <a:pt x="372350" y="329963"/>
                    </a:cubicBezTo>
                    <a:cubicBezTo>
                      <a:pt x="391024" y="300415"/>
                      <a:pt x="417900" y="260817"/>
                      <a:pt x="407344" y="222614"/>
                    </a:cubicBezTo>
                    <a:cubicBezTo>
                      <a:pt x="403209" y="210389"/>
                      <a:pt x="396440" y="199222"/>
                      <a:pt x="387515" y="189903"/>
                    </a:cubicBezTo>
                    <a:cubicBezTo>
                      <a:pt x="373343" y="170696"/>
                      <a:pt x="356243" y="153836"/>
                      <a:pt x="336840" y="139940"/>
                    </a:cubicBezTo>
                    <a:cubicBezTo>
                      <a:pt x="310725" y="121340"/>
                      <a:pt x="286199" y="101447"/>
                      <a:pt x="258414" y="85143"/>
                    </a:cubicBezTo>
                    <a:cubicBezTo>
                      <a:pt x="227137" y="66789"/>
                      <a:pt x="194910" y="50399"/>
                      <a:pt x="163998" y="31346"/>
                    </a:cubicBezTo>
                    <a:cubicBezTo>
                      <a:pt x="142258" y="18142"/>
                      <a:pt x="119002" y="7617"/>
                      <a:pt x="94736" y="0"/>
                    </a:cubicBezTo>
                    <a:lnTo>
                      <a:pt x="5" y="196562"/>
                    </a:lnTo>
                    <a:cubicBezTo>
                      <a:pt x="22565" y="217150"/>
                      <a:pt x="44675" y="238265"/>
                      <a:pt x="67405" y="25885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6" name="Google Shape;256;p14"/>
              <p:cNvSpPr/>
              <p:nvPr/>
            </p:nvSpPr>
            <p:spPr>
              <a:xfrm>
                <a:off x="6381962" y="2447554"/>
                <a:ext cx="329526" cy="292546"/>
              </a:xfrm>
              <a:custGeom>
                <a:avLst/>
                <a:gdLst/>
                <a:ahLst/>
                <a:cxnLst/>
                <a:rect l="l" t="t" r="r" b="b"/>
                <a:pathLst>
                  <a:path w="329526" h="292546" extrusionOk="0">
                    <a:moveTo>
                      <a:pt x="108585" y="40492"/>
                    </a:moveTo>
                    <a:cubicBezTo>
                      <a:pt x="90590" y="29713"/>
                      <a:pt x="71185" y="20036"/>
                      <a:pt x="52516" y="10716"/>
                    </a:cubicBezTo>
                    <a:cubicBezTo>
                      <a:pt x="39193" y="4066"/>
                      <a:pt x="27733" y="-2518"/>
                      <a:pt x="13515" y="963"/>
                    </a:cubicBezTo>
                    <a:cubicBezTo>
                      <a:pt x="-7245" y="6045"/>
                      <a:pt x="702" y="27195"/>
                      <a:pt x="6160" y="43801"/>
                    </a:cubicBezTo>
                    <a:cubicBezTo>
                      <a:pt x="14383" y="66978"/>
                      <a:pt x="25147" y="89172"/>
                      <a:pt x="38253" y="109979"/>
                    </a:cubicBezTo>
                    <a:cubicBezTo>
                      <a:pt x="52833" y="133835"/>
                      <a:pt x="63956" y="158977"/>
                      <a:pt x="88300" y="175693"/>
                    </a:cubicBezTo>
                    <a:cubicBezTo>
                      <a:pt x="105613" y="187582"/>
                      <a:pt x="123507" y="198768"/>
                      <a:pt x="141055" y="210313"/>
                    </a:cubicBezTo>
                    <a:cubicBezTo>
                      <a:pt x="152353" y="217746"/>
                      <a:pt x="163464" y="226715"/>
                      <a:pt x="175310" y="233102"/>
                    </a:cubicBezTo>
                    <a:cubicBezTo>
                      <a:pt x="183056" y="237280"/>
                      <a:pt x="191022" y="239243"/>
                      <a:pt x="198691" y="243622"/>
                    </a:cubicBezTo>
                    <a:cubicBezTo>
                      <a:pt x="227782" y="260227"/>
                      <a:pt x="259151" y="273466"/>
                      <a:pt x="287088" y="292547"/>
                    </a:cubicBezTo>
                    <a:lnTo>
                      <a:pt x="329531" y="204479"/>
                    </a:lnTo>
                    <a:cubicBezTo>
                      <a:pt x="302564" y="179240"/>
                      <a:pt x="273961" y="155809"/>
                      <a:pt x="243910" y="134339"/>
                    </a:cubicBezTo>
                    <a:cubicBezTo>
                      <a:pt x="198868" y="102977"/>
                      <a:pt x="155846" y="68802"/>
                      <a:pt x="108585" y="4049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7" name="Google Shape;257;p14"/>
              <p:cNvSpPr/>
              <p:nvPr/>
            </p:nvSpPr>
            <p:spPr>
              <a:xfrm>
                <a:off x="6651890" y="1651506"/>
                <a:ext cx="447863" cy="273263"/>
              </a:xfrm>
              <a:custGeom>
                <a:avLst/>
                <a:gdLst/>
                <a:ahLst/>
                <a:cxnLst/>
                <a:rect l="l" t="t" r="r" b="b"/>
                <a:pathLst>
                  <a:path w="447863" h="273263" extrusionOk="0">
                    <a:moveTo>
                      <a:pt x="435612" y="182642"/>
                    </a:moveTo>
                    <a:cubicBezTo>
                      <a:pt x="427988" y="175557"/>
                      <a:pt x="418831" y="171418"/>
                      <a:pt x="411318" y="163525"/>
                    </a:cubicBezTo>
                    <a:cubicBezTo>
                      <a:pt x="403123" y="154919"/>
                      <a:pt x="394766" y="146455"/>
                      <a:pt x="386549" y="137866"/>
                    </a:cubicBezTo>
                    <a:cubicBezTo>
                      <a:pt x="361545" y="113074"/>
                      <a:pt x="333744" y="91274"/>
                      <a:pt x="303706" y="72907"/>
                    </a:cubicBezTo>
                    <a:cubicBezTo>
                      <a:pt x="289401" y="62194"/>
                      <a:pt x="274498" y="52303"/>
                      <a:pt x="259070" y="43283"/>
                    </a:cubicBezTo>
                    <a:cubicBezTo>
                      <a:pt x="249691" y="38588"/>
                      <a:pt x="241539" y="36051"/>
                      <a:pt x="232375" y="30465"/>
                    </a:cubicBezTo>
                    <a:cubicBezTo>
                      <a:pt x="222889" y="26080"/>
                      <a:pt x="213035" y="22543"/>
                      <a:pt x="202927" y="19892"/>
                    </a:cubicBezTo>
                    <a:cubicBezTo>
                      <a:pt x="184724" y="11873"/>
                      <a:pt x="165261" y="7096"/>
                      <a:pt x="145415" y="5778"/>
                    </a:cubicBezTo>
                    <a:cubicBezTo>
                      <a:pt x="136104" y="6048"/>
                      <a:pt x="126785" y="5751"/>
                      <a:pt x="117510" y="4891"/>
                    </a:cubicBezTo>
                    <a:cubicBezTo>
                      <a:pt x="105401" y="1602"/>
                      <a:pt x="92906" y="-43"/>
                      <a:pt x="80359" y="1"/>
                    </a:cubicBezTo>
                    <a:cubicBezTo>
                      <a:pt x="45840" y="2603"/>
                      <a:pt x="25992" y="19077"/>
                      <a:pt x="8432" y="45111"/>
                    </a:cubicBezTo>
                    <a:cubicBezTo>
                      <a:pt x="-209" y="57921"/>
                      <a:pt x="-5838" y="75130"/>
                      <a:pt x="10191" y="88700"/>
                    </a:cubicBezTo>
                    <a:cubicBezTo>
                      <a:pt x="32044" y="105092"/>
                      <a:pt x="56144" y="118249"/>
                      <a:pt x="81748" y="127764"/>
                    </a:cubicBezTo>
                    <a:cubicBezTo>
                      <a:pt x="102298" y="136376"/>
                      <a:pt x="122721" y="141857"/>
                      <a:pt x="143372" y="149278"/>
                    </a:cubicBezTo>
                    <a:cubicBezTo>
                      <a:pt x="155004" y="153459"/>
                      <a:pt x="166872" y="156114"/>
                      <a:pt x="178460" y="160465"/>
                    </a:cubicBezTo>
                    <a:cubicBezTo>
                      <a:pt x="188627" y="164853"/>
                      <a:pt x="198408" y="170089"/>
                      <a:pt x="207699" y="176117"/>
                    </a:cubicBezTo>
                    <a:cubicBezTo>
                      <a:pt x="228978" y="187569"/>
                      <a:pt x="251162" y="197253"/>
                      <a:pt x="274028" y="205070"/>
                    </a:cubicBezTo>
                    <a:cubicBezTo>
                      <a:pt x="303156" y="217350"/>
                      <a:pt x="331449" y="231525"/>
                      <a:pt x="358725" y="247506"/>
                    </a:cubicBezTo>
                    <a:cubicBezTo>
                      <a:pt x="375703" y="256420"/>
                      <a:pt x="392867" y="264914"/>
                      <a:pt x="410097" y="273263"/>
                    </a:cubicBezTo>
                    <a:lnTo>
                      <a:pt x="447868" y="194891"/>
                    </a:lnTo>
                    <a:cubicBezTo>
                      <a:pt x="443582" y="191015"/>
                      <a:pt x="440365" y="187057"/>
                      <a:pt x="435612" y="18264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8" name="Google Shape;258;p14"/>
              <p:cNvSpPr/>
              <p:nvPr/>
            </p:nvSpPr>
            <p:spPr>
              <a:xfrm>
                <a:off x="7099753" y="1759023"/>
                <a:ext cx="256859" cy="248347"/>
              </a:xfrm>
              <a:custGeom>
                <a:avLst/>
                <a:gdLst/>
                <a:ahLst/>
                <a:cxnLst/>
                <a:rect l="l" t="t" r="r" b="b"/>
                <a:pathLst>
                  <a:path w="256859" h="248347" extrusionOk="0">
                    <a:moveTo>
                      <a:pt x="30179" y="111307"/>
                    </a:moveTo>
                    <a:cubicBezTo>
                      <a:pt x="54914" y="137083"/>
                      <a:pt x="82586" y="159803"/>
                      <a:pt x="107123" y="185249"/>
                    </a:cubicBezTo>
                    <a:cubicBezTo>
                      <a:pt x="134110" y="213235"/>
                      <a:pt x="175207" y="240713"/>
                      <a:pt x="213797" y="247566"/>
                    </a:cubicBezTo>
                    <a:cubicBezTo>
                      <a:pt x="255677" y="255004"/>
                      <a:pt x="260273" y="207614"/>
                      <a:pt x="255203" y="178252"/>
                    </a:cubicBezTo>
                    <a:cubicBezTo>
                      <a:pt x="254406" y="169206"/>
                      <a:pt x="251007" y="160585"/>
                      <a:pt x="245418" y="153431"/>
                    </a:cubicBezTo>
                    <a:cubicBezTo>
                      <a:pt x="240910" y="147491"/>
                      <a:pt x="235930" y="141925"/>
                      <a:pt x="230527" y="136787"/>
                    </a:cubicBezTo>
                    <a:cubicBezTo>
                      <a:pt x="217692" y="123995"/>
                      <a:pt x="202414" y="115110"/>
                      <a:pt x="189297" y="102550"/>
                    </a:cubicBezTo>
                    <a:cubicBezTo>
                      <a:pt x="178255" y="91977"/>
                      <a:pt x="163714" y="84717"/>
                      <a:pt x="151983" y="74641"/>
                    </a:cubicBezTo>
                    <a:cubicBezTo>
                      <a:pt x="140010" y="64766"/>
                      <a:pt x="127397" y="55695"/>
                      <a:pt x="114226" y="47487"/>
                    </a:cubicBezTo>
                    <a:cubicBezTo>
                      <a:pt x="90135" y="31742"/>
                      <a:pt x="66153" y="15825"/>
                      <a:pt x="42113" y="0"/>
                    </a:cubicBezTo>
                    <a:lnTo>
                      <a:pt x="5" y="87375"/>
                    </a:lnTo>
                    <a:cubicBezTo>
                      <a:pt x="1965" y="89174"/>
                      <a:pt x="4055" y="90827"/>
                      <a:pt x="6257" y="92319"/>
                    </a:cubicBezTo>
                    <a:cubicBezTo>
                      <a:pt x="14930" y="97713"/>
                      <a:pt x="22956" y="104084"/>
                      <a:pt x="30179" y="111307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59" name="Google Shape;259;p14"/>
              <p:cNvSpPr/>
              <p:nvPr/>
            </p:nvSpPr>
            <p:spPr>
              <a:xfrm>
                <a:off x="6845934" y="2201206"/>
                <a:ext cx="601812" cy="401738"/>
              </a:xfrm>
              <a:custGeom>
                <a:avLst/>
                <a:gdLst/>
                <a:ahLst/>
                <a:cxnLst/>
                <a:rect l="l" t="t" r="r" b="b"/>
                <a:pathLst>
                  <a:path w="601812" h="401738" extrusionOk="0">
                    <a:moveTo>
                      <a:pt x="596228" y="350482"/>
                    </a:moveTo>
                    <a:cubicBezTo>
                      <a:pt x="602550" y="339045"/>
                      <a:pt x="603560" y="325414"/>
                      <a:pt x="598993" y="313169"/>
                    </a:cubicBezTo>
                    <a:cubicBezTo>
                      <a:pt x="595501" y="302179"/>
                      <a:pt x="591173" y="290556"/>
                      <a:pt x="586545" y="279886"/>
                    </a:cubicBezTo>
                    <a:cubicBezTo>
                      <a:pt x="569044" y="234139"/>
                      <a:pt x="534136" y="197195"/>
                      <a:pt x="489465" y="177144"/>
                    </a:cubicBezTo>
                    <a:cubicBezTo>
                      <a:pt x="462626" y="162397"/>
                      <a:pt x="435702" y="147626"/>
                      <a:pt x="408248" y="134155"/>
                    </a:cubicBezTo>
                    <a:cubicBezTo>
                      <a:pt x="346507" y="103400"/>
                      <a:pt x="282967" y="76403"/>
                      <a:pt x="217974" y="53311"/>
                    </a:cubicBezTo>
                    <a:cubicBezTo>
                      <a:pt x="176515" y="38811"/>
                      <a:pt x="136928" y="19473"/>
                      <a:pt x="95499" y="4781"/>
                    </a:cubicBezTo>
                    <a:cubicBezTo>
                      <a:pt x="91246" y="3273"/>
                      <a:pt x="87050" y="1598"/>
                      <a:pt x="82829" y="0"/>
                    </a:cubicBezTo>
                    <a:lnTo>
                      <a:pt x="5" y="171858"/>
                    </a:lnTo>
                    <a:cubicBezTo>
                      <a:pt x="58392" y="213237"/>
                      <a:pt x="116722" y="255049"/>
                      <a:pt x="178659" y="290275"/>
                    </a:cubicBezTo>
                    <a:cubicBezTo>
                      <a:pt x="209196" y="307642"/>
                      <a:pt x="241321" y="322077"/>
                      <a:pt x="272210" y="338774"/>
                    </a:cubicBezTo>
                    <a:cubicBezTo>
                      <a:pt x="291875" y="349735"/>
                      <a:pt x="312292" y="359286"/>
                      <a:pt x="333308" y="367355"/>
                    </a:cubicBezTo>
                    <a:cubicBezTo>
                      <a:pt x="369802" y="380079"/>
                      <a:pt x="407191" y="390076"/>
                      <a:pt x="445166" y="397261"/>
                    </a:cubicBezTo>
                    <a:cubicBezTo>
                      <a:pt x="463722" y="400705"/>
                      <a:pt x="482607" y="402052"/>
                      <a:pt x="501464" y="401276"/>
                    </a:cubicBezTo>
                    <a:cubicBezTo>
                      <a:pt x="518051" y="402530"/>
                      <a:pt x="534731" y="401233"/>
                      <a:pt x="550924" y="397430"/>
                    </a:cubicBezTo>
                    <a:cubicBezTo>
                      <a:pt x="572281" y="389342"/>
                      <a:pt x="588901" y="372120"/>
                      <a:pt x="596228" y="35048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0" name="Google Shape;260;p14"/>
              <p:cNvSpPr/>
              <p:nvPr/>
            </p:nvSpPr>
            <p:spPr>
              <a:xfrm>
                <a:off x="6996154" y="1924770"/>
                <a:ext cx="487882" cy="356654"/>
              </a:xfrm>
              <a:custGeom>
                <a:avLst/>
                <a:gdLst/>
                <a:ahLst/>
                <a:cxnLst/>
                <a:rect l="l" t="t" r="r" b="b"/>
                <a:pathLst>
                  <a:path w="487882" h="356654" extrusionOk="0">
                    <a:moveTo>
                      <a:pt x="66760" y="184869"/>
                    </a:moveTo>
                    <a:cubicBezTo>
                      <a:pt x="94480" y="204904"/>
                      <a:pt x="123982" y="222772"/>
                      <a:pt x="152468" y="241728"/>
                    </a:cubicBezTo>
                    <a:cubicBezTo>
                      <a:pt x="175072" y="256770"/>
                      <a:pt x="197592" y="267994"/>
                      <a:pt x="221210" y="281123"/>
                    </a:cubicBezTo>
                    <a:cubicBezTo>
                      <a:pt x="251734" y="300018"/>
                      <a:pt x="283548" y="316741"/>
                      <a:pt x="316417" y="331172"/>
                    </a:cubicBezTo>
                    <a:cubicBezTo>
                      <a:pt x="351755" y="344752"/>
                      <a:pt x="390611" y="360898"/>
                      <a:pt x="427183" y="355634"/>
                    </a:cubicBezTo>
                    <a:cubicBezTo>
                      <a:pt x="446674" y="352829"/>
                      <a:pt x="464438" y="348721"/>
                      <a:pt x="475959" y="333318"/>
                    </a:cubicBezTo>
                    <a:cubicBezTo>
                      <a:pt x="485688" y="320550"/>
                      <a:pt x="489722" y="304334"/>
                      <a:pt x="487110" y="288493"/>
                    </a:cubicBezTo>
                    <a:cubicBezTo>
                      <a:pt x="482381" y="269428"/>
                      <a:pt x="472568" y="252004"/>
                      <a:pt x="458718" y="238080"/>
                    </a:cubicBezTo>
                    <a:cubicBezTo>
                      <a:pt x="449620" y="226855"/>
                      <a:pt x="438840" y="217106"/>
                      <a:pt x="426761" y="209181"/>
                    </a:cubicBezTo>
                    <a:cubicBezTo>
                      <a:pt x="389957" y="185229"/>
                      <a:pt x="353399" y="160880"/>
                      <a:pt x="316719" y="136735"/>
                    </a:cubicBezTo>
                    <a:cubicBezTo>
                      <a:pt x="285545" y="116215"/>
                      <a:pt x="253678" y="98413"/>
                      <a:pt x="221627" y="79346"/>
                    </a:cubicBezTo>
                    <a:cubicBezTo>
                      <a:pt x="171275" y="49392"/>
                      <a:pt x="118243" y="25396"/>
                      <a:pt x="65833" y="0"/>
                    </a:cubicBezTo>
                    <a:lnTo>
                      <a:pt x="5" y="136592"/>
                    </a:lnTo>
                    <a:cubicBezTo>
                      <a:pt x="4858" y="139761"/>
                      <a:pt x="9678" y="142985"/>
                      <a:pt x="14536" y="146146"/>
                    </a:cubicBezTo>
                    <a:cubicBezTo>
                      <a:pt x="32937" y="158119"/>
                      <a:pt x="49020" y="172044"/>
                      <a:pt x="66760" y="18486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261" name="Google Shape;261;p14"/>
            <p:cNvGrpSpPr/>
            <p:nvPr/>
          </p:nvGrpSpPr>
          <p:grpSpPr>
            <a:xfrm>
              <a:off x="-805386" y="274048"/>
              <a:ext cx="1401328" cy="1383322"/>
              <a:chOff x="3921280" y="4065381"/>
              <a:chExt cx="1018333" cy="1005248"/>
            </a:xfrm>
          </p:grpSpPr>
          <p:sp>
            <p:nvSpPr>
              <p:cNvPr id="262" name="Google Shape;262;p14"/>
              <p:cNvSpPr/>
              <p:nvPr/>
            </p:nvSpPr>
            <p:spPr>
              <a:xfrm>
                <a:off x="3948097" y="4072964"/>
                <a:ext cx="580775" cy="369810"/>
              </a:xfrm>
              <a:custGeom>
                <a:avLst/>
                <a:gdLst/>
                <a:ahLst/>
                <a:cxnLst/>
                <a:rect l="l" t="t" r="r" b="b"/>
                <a:pathLst>
                  <a:path w="580775" h="369810" extrusionOk="0">
                    <a:moveTo>
                      <a:pt x="59305" y="363077"/>
                    </a:moveTo>
                    <a:cubicBezTo>
                      <a:pt x="76964" y="351506"/>
                      <a:pt x="99452" y="346681"/>
                      <a:pt x="117837" y="335464"/>
                    </a:cubicBezTo>
                    <a:cubicBezTo>
                      <a:pt x="140096" y="320738"/>
                      <a:pt x="161245" y="304398"/>
                      <a:pt x="181114" y="286575"/>
                    </a:cubicBezTo>
                    <a:cubicBezTo>
                      <a:pt x="199253" y="271463"/>
                      <a:pt x="216904" y="255922"/>
                      <a:pt x="235307" y="241136"/>
                    </a:cubicBezTo>
                    <a:cubicBezTo>
                      <a:pt x="256828" y="225855"/>
                      <a:pt x="280021" y="213079"/>
                      <a:pt x="304435" y="203055"/>
                    </a:cubicBezTo>
                    <a:cubicBezTo>
                      <a:pt x="355125" y="178315"/>
                      <a:pt x="405619" y="154111"/>
                      <a:pt x="456855" y="130612"/>
                    </a:cubicBezTo>
                    <a:cubicBezTo>
                      <a:pt x="494105" y="113527"/>
                      <a:pt x="535733" y="93900"/>
                      <a:pt x="567336" y="67241"/>
                    </a:cubicBezTo>
                    <a:cubicBezTo>
                      <a:pt x="607116" y="33683"/>
                      <a:pt x="549746" y="-23215"/>
                      <a:pt x="510236" y="10115"/>
                    </a:cubicBezTo>
                    <a:cubicBezTo>
                      <a:pt x="480083" y="35551"/>
                      <a:pt x="430245" y="55031"/>
                      <a:pt x="394425" y="70461"/>
                    </a:cubicBezTo>
                    <a:cubicBezTo>
                      <a:pt x="344791" y="91842"/>
                      <a:pt x="297461" y="117505"/>
                      <a:pt x="248645" y="140655"/>
                    </a:cubicBezTo>
                    <a:cubicBezTo>
                      <a:pt x="211166" y="159089"/>
                      <a:pt x="176556" y="182860"/>
                      <a:pt x="145894" y="211227"/>
                    </a:cubicBezTo>
                    <a:cubicBezTo>
                      <a:pt x="124484" y="231239"/>
                      <a:pt x="101469" y="249460"/>
                      <a:pt x="77081" y="265706"/>
                    </a:cubicBezTo>
                    <a:cubicBezTo>
                      <a:pt x="58426" y="277180"/>
                      <a:pt x="36683" y="281438"/>
                      <a:pt x="18548" y="293318"/>
                    </a:cubicBezTo>
                    <a:cubicBezTo>
                      <a:pt x="-24756" y="321690"/>
                      <a:pt x="15660" y="391672"/>
                      <a:pt x="59305" y="363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3" name="Google Shape;263;p14"/>
              <p:cNvSpPr/>
              <p:nvPr/>
            </p:nvSpPr>
            <p:spPr>
              <a:xfrm>
                <a:off x="4063101" y="4065381"/>
                <a:ext cx="235196" cy="168615"/>
              </a:xfrm>
              <a:custGeom>
                <a:avLst/>
                <a:gdLst/>
                <a:ahLst/>
                <a:cxnLst/>
                <a:rect l="l" t="t" r="r" b="b"/>
                <a:pathLst>
                  <a:path w="235196" h="168615" extrusionOk="0">
                    <a:moveTo>
                      <a:pt x="20471" y="163025"/>
                    </a:moveTo>
                    <a:cubicBezTo>
                      <a:pt x="41087" y="175380"/>
                      <a:pt x="62567" y="165795"/>
                      <a:pt x="75714" y="148534"/>
                    </a:cubicBezTo>
                    <a:cubicBezTo>
                      <a:pt x="90036" y="129729"/>
                      <a:pt x="122395" y="124670"/>
                      <a:pt x="142832" y="115139"/>
                    </a:cubicBezTo>
                    <a:cubicBezTo>
                      <a:pt x="163912" y="105311"/>
                      <a:pt x="184059" y="85160"/>
                      <a:pt x="206510" y="79364"/>
                    </a:cubicBezTo>
                    <a:cubicBezTo>
                      <a:pt x="256792" y="66381"/>
                      <a:pt x="235477" y="-11561"/>
                      <a:pt x="185043" y="1461"/>
                    </a:cubicBezTo>
                    <a:cubicBezTo>
                      <a:pt x="151681" y="10075"/>
                      <a:pt x="124698" y="35943"/>
                      <a:pt x="92837" y="48798"/>
                    </a:cubicBezTo>
                    <a:cubicBezTo>
                      <a:pt x="56941" y="63281"/>
                      <a:pt x="29840" y="76440"/>
                      <a:pt x="5986" y="107758"/>
                    </a:cubicBezTo>
                    <a:cubicBezTo>
                      <a:pt x="-7331" y="125243"/>
                      <a:pt x="3391" y="152789"/>
                      <a:pt x="20471" y="16302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4" name="Google Shape;264;p14"/>
              <p:cNvSpPr/>
              <p:nvPr/>
            </p:nvSpPr>
            <p:spPr>
              <a:xfrm>
                <a:off x="3921280" y="4122942"/>
                <a:ext cx="783131" cy="485318"/>
              </a:xfrm>
              <a:custGeom>
                <a:avLst/>
                <a:gdLst/>
                <a:ahLst/>
                <a:cxnLst/>
                <a:rect l="l" t="t" r="r" b="b"/>
                <a:pathLst>
                  <a:path w="783131" h="485318" extrusionOk="0">
                    <a:moveTo>
                      <a:pt x="50170" y="483865"/>
                    </a:moveTo>
                    <a:cubicBezTo>
                      <a:pt x="76416" y="477109"/>
                      <a:pt x="102695" y="459032"/>
                      <a:pt x="126937" y="447005"/>
                    </a:cubicBezTo>
                    <a:cubicBezTo>
                      <a:pt x="162196" y="429514"/>
                      <a:pt x="196935" y="411201"/>
                      <a:pt x="231163" y="391766"/>
                    </a:cubicBezTo>
                    <a:cubicBezTo>
                      <a:pt x="268127" y="370777"/>
                      <a:pt x="301754" y="345136"/>
                      <a:pt x="338205" y="323583"/>
                    </a:cubicBezTo>
                    <a:cubicBezTo>
                      <a:pt x="370773" y="304325"/>
                      <a:pt x="407274" y="293069"/>
                      <a:pt x="440624" y="275253"/>
                    </a:cubicBezTo>
                    <a:cubicBezTo>
                      <a:pt x="551914" y="215802"/>
                      <a:pt x="658124" y="143481"/>
                      <a:pt x="764295" y="76219"/>
                    </a:cubicBezTo>
                    <a:cubicBezTo>
                      <a:pt x="808084" y="48479"/>
                      <a:pt x="767616" y="-21463"/>
                      <a:pt x="723538" y="6462"/>
                    </a:cubicBezTo>
                    <a:cubicBezTo>
                      <a:pt x="621378" y="71181"/>
                      <a:pt x="519019" y="138040"/>
                      <a:pt x="413434" y="197910"/>
                    </a:cubicBezTo>
                    <a:cubicBezTo>
                      <a:pt x="380399" y="216642"/>
                      <a:pt x="344586" y="228436"/>
                      <a:pt x="311154" y="246115"/>
                    </a:cubicBezTo>
                    <a:cubicBezTo>
                      <a:pt x="278526" y="263368"/>
                      <a:pt x="249717" y="287288"/>
                      <a:pt x="217991" y="306182"/>
                    </a:cubicBezTo>
                    <a:cubicBezTo>
                      <a:pt x="184857" y="325915"/>
                      <a:pt x="150899" y="344366"/>
                      <a:pt x="116581" y="361945"/>
                    </a:cubicBezTo>
                    <a:cubicBezTo>
                      <a:pt x="90004" y="375558"/>
                      <a:pt x="57692" y="398501"/>
                      <a:pt x="28702" y="405963"/>
                    </a:cubicBezTo>
                    <a:cubicBezTo>
                      <a:pt x="-21590" y="418909"/>
                      <a:pt x="-272" y="496850"/>
                      <a:pt x="50170" y="483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5" name="Google Shape;265;p14"/>
              <p:cNvSpPr/>
              <p:nvPr/>
            </p:nvSpPr>
            <p:spPr>
              <a:xfrm>
                <a:off x="3947907" y="4214911"/>
                <a:ext cx="888984" cy="554549"/>
              </a:xfrm>
              <a:custGeom>
                <a:avLst/>
                <a:gdLst/>
                <a:ahLst/>
                <a:cxnLst/>
                <a:rect l="l" t="t" r="r" b="b"/>
                <a:pathLst>
                  <a:path w="888984" h="554549" extrusionOk="0">
                    <a:moveTo>
                      <a:pt x="258167" y="465864"/>
                    </a:moveTo>
                    <a:cubicBezTo>
                      <a:pt x="331705" y="420676"/>
                      <a:pt x="397088" y="368547"/>
                      <a:pt x="475042" y="329870"/>
                    </a:cubicBezTo>
                    <a:cubicBezTo>
                      <a:pt x="544952" y="295185"/>
                      <a:pt x="619993" y="256594"/>
                      <a:pt x="681758" y="208619"/>
                    </a:cubicBezTo>
                    <a:cubicBezTo>
                      <a:pt x="712132" y="182712"/>
                      <a:pt x="744256" y="158933"/>
                      <a:pt x="777902" y="137451"/>
                    </a:cubicBezTo>
                    <a:cubicBezTo>
                      <a:pt x="810589" y="119674"/>
                      <a:pt x="842067" y="99758"/>
                      <a:pt x="872132" y="77832"/>
                    </a:cubicBezTo>
                    <a:cubicBezTo>
                      <a:pt x="912674" y="46501"/>
                      <a:pt x="872510" y="-23715"/>
                      <a:pt x="831375" y="8075"/>
                    </a:cubicBezTo>
                    <a:cubicBezTo>
                      <a:pt x="775479" y="51272"/>
                      <a:pt x="711439" y="80288"/>
                      <a:pt x="656921" y="125764"/>
                    </a:cubicBezTo>
                    <a:cubicBezTo>
                      <a:pt x="595738" y="176797"/>
                      <a:pt x="520026" y="216606"/>
                      <a:pt x="449213" y="252625"/>
                    </a:cubicBezTo>
                    <a:cubicBezTo>
                      <a:pt x="375376" y="291481"/>
                      <a:pt x="304242" y="335273"/>
                      <a:pt x="236293" y="383703"/>
                    </a:cubicBezTo>
                    <a:cubicBezTo>
                      <a:pt x="201607" y="406384"/>
                      <a:pt x="164028" y="424290"/>
                      <a:pt x="124566" y="436939"/>
                    </a:cubicBezTo>
                    <a:cubicBezTo>
                      <a:pt x="92538" y="448210"/>
                      <a:pt x="60701" y="465426"/>
                      <a:pt x="28384" y="474838"/>
                    </a:cubicBezTo>
                    <a:cubicBezTo>
                      <a:pt x="-21413" y="489341"/>
                      <a:pt x="-227" y="567326"/>
                      <a:pt x="49850" y="552740"/>
                    </a:cubicBezTo>
                    <a:cubicBezTo>
                      <a:pt x="82542" y="543219"/>
                      <a:pt x="113691" y="526182"/>
                      <a:pt x="146032" y="514840"/>
                    </a:cubicBezTo>
                    <a:cubicBezTo>
                      <a:pt x="185046" y="502553"/>
                      <a:pt x="222637" y="486134"/>
                      <a:pt x="258167" y="465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6" name="Google Shape;266;p14"/>
              <p:cNvSpPr/>
              <p:nvPr/>
            </p:nvSpPr>
            <p:spPr>
              <a:xfrm>
                <a:off x="4036751" y="4382052"/>
                <a:ext cx="865539" cy="567450"/>
              </a:xfrm>
              <a:custGeom>
                <a:avLst/>
                <a:gdLst/>
                <a:ahLst/>
                <a:cxnLst/>
                <a:rect l="l" t="t" r="r" b="b"/>
                <a:pathLst>
                  <a:path w="865539" h="567450" extrusionOk="0">
                    <a:moveTo>
                      <a:pt x="336526" y="375326"/>
                    </a:moveTo>
                    <a:cubicBezTo>
                      <a:pt x="366606" y="349102"/>
                      <a:pt x="399001" y="325662"/>
                      <a:pt x="433313" y="305292"/>
                    </a:cubicBezTo>
                    <a:cubicBezTo>
                      <a:pt x="503546" y="263874"/>
                      <a:pt x="575439" y="226412"/>
                      <a:pt x="646955" y="187353"/>
                    </a:cubicBezTo>
                    <a:cubicBezTo>
                      <a:pt x="684804" y="166681"/>
                      <a:pt x="722262" y="145299"/>
                      <a:pt x="760182" y="124756"/>
                    </a:cubicBezTo>
                    <a:cubicBezTo>
                      <a:pt x="791648" y="107711"/>
                      <a:pt x="826333" y="92499"/>
                      <a:pt x="852847" y="68144"/>
                    </a:cubicBezTo>
                    <a:cubicBezTo>
                      <a:pt x="891209" y="32904"/>
                      <a:pt x="833986" y="-24109"/>
                      <a:pt x="795746" y="11019"/>
                    </a:cubicBezTo>
                    <a:cubicBezTo>
                      <a:pt x="767749" y="36737"/>
                      <a:pt x="724114" y="52303"/>
                      <a:pt x="691050" y="70536"/>
                    </a:cubicBezTo>
                    <a:cubicBezTo>
                      <a:pt x="658008" y="88758"/>
                      <a:pt x="625196" y="107401"/>
                      <a:pt x="591990" y="125326"/>
                    </a:cubicBezTo>
                    <a:cubicBezTo>
                      <a:pt x="520568" y="163880"/>
                      <a:pt x="449291" y="201544"/>
                      <a:pt x="379571" y="243179"/>
                    </a:cubicBezTo>
                    <a:cubicBezTo>
                      <a:pt x="316838" y="280641"/>
                      <a:pt x="271136" y="332029"/>
                      <a:pt x="218059" y="380845"/>
                    </a:cubicBezTo>
                    <a:cubicBezTo>
                      <a:pt x="191158" y="404387"/>
                      <a:pt x="160954" y="423860"/>
                      <a:pt x="128411" y="438643"/>
                    </a:cubicBezTo>
                    <a:cubicBezTo>
                      <a:pt x="92489" y="456159"/>
                      <a:pt x="50058" y="466696"/>
                      <a:pt x="17589" y="490159"/>
                    </a:cubicBezTo>
                    <a:cubicBezTo>
                      <a:pt x="-24147" y="520323"/>
                      <a:pt x="16116" y="590438"/>
                      <a:pt x="58346" y="559918"/>
                    </a:cubicBezTo>
                    <a:cubicBezTo>
                      <a:pt x="90390" y="536760"/>
                      <a:pt x="133531" y="525778"/>
                      <a:pt x="169167" y="508400"/>
                    </a:cubicBezTo>
                    <a:cubicBezTo>
                      <a:pt x="203377" y="492244"/>
                      <a:pt x="235382" y="471780"/>
                      <a:pt x="264406" y="447507"/>
                    </a:cubicBezTo>
                    <a:cubicBezTo>
                      <a:pt x="290384" y="425302"/>
                      <a:pt x="310706" y="397627"/>
                      <a:pt x="336526" y="3753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7" name="Google Shape;267;p14"/>
              <p:cNvSpPr/>
              <p:nvPr/>
            </p:nvSpPr>
            <p:spPr>
              <a:xfrm>
                <a:off x="4482797" y="4854026"/>
                <a:ext cx="326877" cy="216603"/>
              </a:xfrm>
              <a:custGeom>
                <a:avLst/>
                <a:gdLst/>
                <a:ahLst/>
                <a:cxnLst/>
                <a:rect l="l" t="t" r="r" b="b"/>
                <a:pathLst>
                  <a:path w="326877" h="216603" extrusionOk="0">
                    <a:moveTo>
                      <a:pt x="256159" y="9881"/>
                    </a:moveTo>
                    <a:cubicBezTo>
                      <a:pt x="226451" y="34402"/>
                      <a:pt x="185089" y="47227"/>
                      <a:pt x="153099" y="68495"/>
                    </a:cubicBezTo>
                    <a:cubicBezTo>
                      <a:pt x="132396" y="82260"/>
                      <a:pt x="120933" y="99541"/>
                      <a:pt x="97506" y="110367"/>
                    </a:cubicBezTo>
                    <a:cubicBezTo>
                      <a:pt x="75159" y="120898"/>
                      <a:pt x="52072" y="129780"/>
                      <a:pt x="28430" y="136941"/>
                    </a:cubicBezTo>
                    <a:cubicBezTo>
                      <a:pt x="-21438" y="151239"/>
                      <a:pt x="-235" y="229216"/>
                      <a:pt x="49898" y="214843"/>
                    </a:cubicBezTo>
                    <a:cubicBezTo>
                      <a:pt x="75419" y="206845"/>
                      <a:pt x="100409" y="197237"/>
                      <a:pt x="124716" y="186078"/>
                    </a:cubicBezTo>
                    <a:cubicBezTo>
                      <a:pt x="154948" y="172989"/>
                      <a:pt x="169691" y="157320"/>
                      <a:pt x="194207" y="138197"/>
                    </a:cubicBezTo>
                    <a:cubicBezTo>
                      <a:pt x="230106" y="110195"/>
                      <a:pt x="277639" y="96408"/>
                      <a:pt x="313258" y="67007"/>
                    </a:cubicBezTo>
                    <a:cubicBezTo>
                      <a:pt x="353376" y="33894"/>
                      <a:pt x="295967" y="-22977"/>
                      <a:pt x="256159" y="9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268" name="Google Shape;268;p14"/>
              <p:cNvSpPr/>
              <p:nvPr/>
            </p:nvSpPr>
            <p:spPr>
              <a:xfrm>
                <a:off x="4207631" y="4583110"/>
                <a:ext cx="731982" cy="470540"/>
              </a:xfrm>
              <a:custGeom>
                <a:avLst/>
                <a:gdLst/>
                <a:ahLst/>
                <a:cxnLst/>
                <a:rect l="l" t="t" r="r" b="b"/>
                <a:pathLst>
                  <a:path w="731982" h="470540" extrusionOk="0">
                    <a:moveTo>
                      <a:pt x="662867" y="11748"/>
                    </a:moveTo>
                    <a:cubicBezTo>
                      <a:pt x="615615" y="58355"/>
                      <a:pt x="551642" y="78125"/>
                      <a:pt x="502036" y="120671"/>
                    </a:cubicBezTo>
                    <a:cubicBezTo>
                      <a:pt x="481878" y="140487"/>
                      <a:pt x="458307" y="156495"/>
                      <a:pt x="432457" y="167923"/>
                    </a:cubicBezTo>
                    <a:cubicBezTo>
                      <a:pt x="405625" y="179865"/>
                      <a:pt x="379703" y="193757"/>
                      <a:pt x="354900" y="209487"/>
                    </a:cubicBezTo>
                    <a:cubicBezTo>
                      <a:pt x="298547" y="242147"/>
                      <a:pt x="247639" y="282323"/>
                      <a:pt x="188042" y="309803"/>
                    </a:cubicBezTo>
                    <a:cubicBezTo>
                      <a:pt x="129125" y="336969"/>
                      <a:pt x="56509" y="351069"/>
                      <a:pt x="11004" y="400699"/>
                    </a:cubicBezTo>
                    <a:cubicBezTo>
                      <a:pt x="-24073" y="438956"/>
                      <a:pt x="32883" y="496238"/>
                      <a:pt x="68104" y="457824"/>
                    </a:cubicBezTo>
                    <a:cubicBezTo>
                      <a:pt x="112548" y="409352"/>
                      <a:pt x="194574" y="398489"/>
                      <a:pt x="251134" y="367559"/>
                    </a:cubicBezTo>
                    <a:cubicBezTo>
                      <a:pt x="308707" y="336076"/>
                      <a:pt x="362533" y="299227"/>
                      <a:pt x="419651" y="267391"/>
                    </a:cubicBezTo>
                    <a:cubicBezTo>
                      <a:pt x="443080" y="254333"/>
                      <a:pt x="465133" y="242926"/>
                      <a:pt x="489451" y="231323"/>
                    </a:cubicBezTo>
                    <a:cubicBezTo>
                      <a:pt x="519096" y="217177"/>
                      <a:pt x="537373" y="194224"/>
                      <a:pt x="562845" y="174956"/>
                    </a:cubicBezTo>
                    <a:cubicBezTo>
                      <a:pt x="589678" y="154660"/>
                      <a:pt x="623038" y="144338"/>
                      <a:pt x="649972" y="124590"/>
                    </a:cubicBezTo>
                    <a:cubicBezTo>
                      <a:pt x="674606" y="107717"/>
                      <a:pt x="697998" y="89097"/>
                      <a:pt x="719968" y="68874"/>
                    </a:cubicBezTo>
                    <a:cubicBezTo>
                      <a:pt x="757031" y="32315"/>
                      <a:pt x="699924" y="-24804"/>
                      <a:pt x="662867" y="117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269" name="Google Shape;269;p14"/>
          <p:cNvGrpSpPr/>
          <p:nvPr/>
        </p:nvGrpSpPr>
        <p:grpSpPr>
          <a:xfrm>
            <a:off x="-1073847" y="4543464"/>
            <a:ext cx="15809219" cy="4639667"/>
            <a:chOff x="-805385" y="3407598"/>
            <a:chExt cx="11856914" cy="3479750"/>
          </a:xfrm>
        </p:grpSpPr>
        <p:sp>
          <p:nvSpPr>
            <p:cNvPr id="270" name="Google Shape;270;p14"/>
            <p:cNvSpPr/>
            <p:nvPr/>
          </p:nvSpPr>
          <p:spPr>
            <a:xfrm rot="-10171546">
              <a:off x="-633356" y="4603393"/>
              <a:ext cx="2239624" cy="2097859"/>
            </a:xfrm>
            <a:custGeom>
              <a:avLst/>
              <a:gdLst/>
              <a:ahLst/>
              <a:cxnLst/>
              <a:rect l="l" t="t" r="r" b="b"/>
              <a:pathLst>
                <a:path w="1850676" h="1733531" extrusionOk="0">
                  <a:moveTo>
                    <a:pt x="1392436" y="1733532"/>
                  </a:moveTo>
                  <a:cubicBezTo>
                    <a:pt x="1356116" y="1733435"/>
                    <a:pt x="1320056" y="1727407"/>
                    <a:pt x="1285678" y="1715686"/>
                  </a:cubicBezTo>
                  <a:cubicBezTo>
                    <a:pt x="1236246" y="1699120"/>
                    <a:pt x="1202707" y="1667331"/>
                    <a:pt x="1170265" y="1636579"/>
                  </a:cubicBezTo>
                  <a:cubicBezTo>
                    <a:pt x="1134465" y="1602648"/>
                    <a:pt x="1100652" y="1570585"/>
                    <a:pt x="1046178" y="1557516"/>
                  </a:cubicBezTo>
                  <a:cubicBezTo>
                    <a:pt x="936663" y="1531212"/>
                    <a:pt x="787034" y="1537364"/>
                    <a:pt x="645934" y="1573962"/>
                  </a:cubicBezTo>
                  <a:cubicBezTo>
                    <a:pt x="619752" y="1580748"/>
                    <a:pt x="594312" y="1588649"/>
                    <a:pt x="569708" y="1596287"/>
                  </a:cubicBezTo>
                  <a:cubicBezTo>
                    <a:pt x="501149" y="1617576"/>
                    <a:pt x="436413" y="1637672"/>
                    <a:pt x="358035" y="1635267"/>
                  </a:cubicBezTo>
                  <a:cubicBezTo>
                    <a:pt x="254669" y="1632077"/>
                    <a:pt x="171648" y="1597009"/>
                    <a:pt x="111287" y="1531026"/>
                  </a:cubicBezTo>
                  <a:cubicBezTo>
                    <a:pt x="1920" y="1411486"/>
                    <a:pt x="-4410" y="1219941"/>
                    <a:pt x="1554" y="1116410"/>
                  </a:cubicBezTo>
                  <a:cubicBezTo>
                    <a:pt x="8107" y="1002705"/>
                    <a:pt x="65082" y="916910"/>
                    <a:pt x="120184" y="833934"/>
                  </a:cubicBezTo>
                  <a:cubicBezTo>
                    <a:pt x="156891" y="778660"/>
                    <a:pt x="194848" y="721507"/>
                    <a:pt x="216967" y="656868"/>
                  </a:cubicBezTo>
                  <a:cubicBezTo>
                    <a:pt x="240961" y="586755"/>
                    <a:pt x="215209" y="540235"/>
                    <a:pt x="182615" y="481334"/>
                  </a:cubicBezTo>
                  <a:cubicBezTo>
                    <a:pt x="172598" y="463226"/>
                    <a:pt x="162238" y="444518"/>
                    <a:pt x="152740" y="423951"/>
                  </a:cubicBezTo>
                  <a:cubicBezTo>
                    <a:pt x="135263" y="386107"/>
                    <a:pt x="109998" y="314530"/>
                    <a:pt x="137219" y="260338"/>
                  </a:cubicBezTo>
                  <a:cubicBezTo>
                    <a:pt x="151932" y="231046"/>
                    <a:pt x="179130" y="211474"/>
                    <a:pt x="218109" y="202115"/>
                  </a:cubicBezTo>
                  <a:cubicBezTo>
                    <a:pt x="233358" y="184870"/>
                    <a:pt x="291950" y="118603"/>
                    <a:pt x="292911" y="117516"/>
                  </a:cubicBezTo>
                  <a:cubicBezTo>
                    <a:pt x="386915" y="11220"/>
                    <a:pt x="545185" y="-46895"/>
                    <a:pt x="665864" y="47653"/>
                  </a:cubicBezTo>
                  <a:cubicBezTo>
                    <a:pt x="728262" y="96551"/>
                    <a:pt x="749163" y="170319"/>
                    <a:pt x="755706" y="223593"/>
                  </a:cubicBezTo>
                  <a:cubicBezTo>
                    <a:pt x="757972" y="242056"/>
                    <a:pt x="759469" y="260600"/>
                    <a:pt x="760911" y="278544"/>
                  </a:cubicBezTo>
                  <a:cubicBezTo>
                    <a:pt x="768322" y="370622"/>
                    <a:pt x="774723" y="450145"/>
                    <a:pt x="879443" y="483377"/>
                  </a:cubicBezTo>
                  <a:cubicBezTo>
                    <a:pt x="947576" y="504993"/>
                    <a:pt x="1018346" y="489694"/>
                    <a:pt x="1065714" y="473050"/>
                  </a:cubicBezTo>
                  <a:cubicBezTo>
                    <a:pt x="1076682" y="469192"/>
                    <a:pt x="1087522" y="464920"/>
                    <a:pt x="1098369" y="460647"/>
                  </a:cubicBezTo>
                  <a:cubicBezTo>
                    <a:pt x="1124661" y="449293"/>
                    <a:pt x="1152031" y="440620"/>
                    <a:pt x="1180062" y="434759"/>
                  </a:cubicBezTo>
                  <a:cubicBezTo>
                    <a:pt x="1214374" y="428050"/>
                    <a:pt x="1249918" y="436281"/>
                    <a:pt x="1277792" y="457391"/>
                  </a:cubicBezTo>
                  <a:cubicBezTo>
                    <a:pt x="1333641" y="498676"/>
                    <a:pt x="1362178" y="582722"/>
                    <a:pt x="1370256" y="647613"/>
                  </a:cubicBezTo>
                  <a:cubicBezTo>
                    <a:pt x="1376171" y="695128"/>
                    <a:pt x="1366482" y="741538"/>
                    <a:pt x="1357110" y="786420"/>
                  </a:cubicBezTo>
                  <a:cubicBezTo>
                    <a:pt x="1346280" y="838283"/>
                    <a:pt x="1336055" y="887262"/>
                    <a:pt x="1348721" y="936350"/>
                  </a:cubicBezTo>
                  <a:cubicBezTo>
                    <a:pt x="1354781" y="963365"/>
                    <a:pt x="1371188" y="986926"/>
                    <a:pt x="1394418" y="1001973"/>
                  </a:cubicBezTo>
                  <a:cubicBezTo>
                    <a:pt x="1424582" y="1019698"/>
                    <a:pt x="1464577" y="1012038"/>
                    <a:pt x="1506920" y="1003929"/>
                  </a:cubicBezTo>
                  <a:cubicBezTo>
                    <a:pt x="1559777" y="993810"/>
                    <a:pt x="1614425" y="983374"/>
                    <a:pt x="1655720" y="1022758"/>
                  </a:cubicBezTo>
                  <a:cubicBezTo>
                    <a:pt x="1673891" y="1040100"/>
                    <a:pt x="1678746" y="1063803"/>
                    <a:pt x="1683027" y="1084719"/>
                  </a:cubicBezTo>
                  <a:cubicBezTo>
                    <a:pt x="1684027" y="1089615"/>
                    <a:pt x="1685022" y="1094488"/>
                    <a:pt x="1686191" y="1099232"/>
                  </a:cubicBezTo>
                  <a:cubicBezTo>
                    <a:pt x="1695508" y="1137085"/>
                    <a:pt x="1722384" y="1162165"/>
                    <a:pt x="1750838" y="1188709"/>
                  </a:cubicBezTo>
                  <a:cubicBezTo>
                    <a:pt x="1769456" y="1205017"/>
                    <a:pt x="1786430" y="1223113"/>
                    <a:pt x="1801516" y="1242737"/>
                  </a:cubicBezTo>
                  <a:cubicBezTo>
                    <a:pt x="1812476" y="1257849"/>
                    <a:pt x="1821933" y="1273997"/>
                    <a:pt x="1829752" y="1290951"/>
                  </a:cubicBezTo>
                  <a:lnTo>
                    <a:pt x="1829752" y="1290951"/>
                  </a:lnTo>
                  <a:cubicBezTo>
                    <a:pt x="1913620" y="1473840"/>
                    <a:pt x="1725044" y="1592026"/>
                    <a:pt x="1623732" y="1655528"/>
                  </a:cubicBezTo>
                  <a:cubicBezTo>
                    <a:pt x="1562262" y="1694048"/>
                    <a:pt x="1484523" y="1733532"/>
                    <a:pt x="1392436" y="1733532"/>
                  </a:cubicBezTo>
                  <a:close/>
                  <a:moveTo>
                    <a:pt x="894484" y="1507881"/>
                  </a:moveTo>
                  <a:cubicBezTo>
                    <a:pt x="948137" y="1507342"/>
                    <a:pt x="1001671" y="1513041"/>
                    <a:pt x="1054010" y="1524863"/>
                  </a:cubicBezTo>
                  <a:cubicBezTo>
                    <a:pt x="1117211" y="1540042"/>
                    <a:pt x="1155918" y="1576727"/>
                    <a:pt x="1193345" y="1612210"/>
                  </a:cubicBezTo>
                  <a:cubicBezTo>
                    <a:pt x="1224509" y="1641748"/>
                    <a:pt x="1253941" y="1669647"/>
                    <a:pt x="1296340" y="1683864"/>
                  </a:cubicBezTo>
                  <a:cubicBezTo>
                    <a:pt x="1396340" y="1717359"/>
                    <a:pt x="1488930" y="1700409"/>
                    <a:pt x="1605916" y="1627072"/>
                  </a:cubicBezTo>
                  <a:cubicBezTo>
                    <a:pt x="1734088" y="1546741"/>
                    <a:pt x="1865301" y="1448980"/>
                    <a:pt x="1799256" y="1304950"/>
                  </a:cubicBezTo>
                  <a:lnTo>
                    <a:pt x="1799256" y="1304960"/>
                  </a:lnTo>
                  <a:cubicBezTo>
                    <a:pt x="1792352" y="1289997"/>
                    <a:pt x="1784004" y="1275745"/>
                    <a:pt x="1774328" y="1262407"/>
                  </a:cubicBezTo>
                  <a:cubicBezTo>
                    <a:pt x="1760504" y="1244557"/>
                    <a:pt x="1744972" y="1228098"/>
                    <a:pt x="1727954" y="1213264"/>
                  </a:cubicBezTo>
                  <a:cubicBezTo>
                    <a:pt x="1697157" y="1184523"/>
                    <a:pt x="1665311" y="1154821"/>
                    <a:pt x="1653607" y="1107253"/>
                  </a:cubicBezTo>
                  <a:cubicBezTo>
                    <a:pt x="1652334" y="1102084"/>
                    <a:pt x="1651247" y="1096783"/>
                    <a:pt x="1650155" y="1091461"/>
                  </a:cubicBezTo>
                  <a:cubicBezTo>
                    <a:pt x="1646539" y="1073813"/>
                    <a:pt x="1643126" y="1057137"/>
                    <a:pt x="1632557" y="1047050"/>
                  </a:cubicBezTo>
                  <a:cubicBezTo>
                    <a:pt x="1603749" y="1019577"/>
                    <a:pt x="1559771" y="1027992"/>
                    <a:pt x="1513228" y="1036909"/>
                  </a:cubicBezTo>
                  <a:cubicBezTo>
                    <a:pt x="1466646" y="1045826"/>
                    <a:pt x="1418487" y="1055060"/>
                    <a:pt x="1377422" y="1030910"/>
                  </a:cubicBezTo>
                  <a:cubicBezTo>
                    <a:pt x="1346504" y="1011344"/>
                    <a:pt x="1324525" y="980391"/>
                    <a:pt x="1316236" y="944743"/>
                  </a:cubicBezTo>
                  <a:cubicBezTo>
                    <a:pt x="1301605" y="888060"/>
                    <a:pt x="1313122" y="832907"/>
                    <a:pt x="1324264" y="779557"/>
                  </a:cubicBezTo>
                  <a:cubicBezTo>
                    <a:pt x="1333478" y="735419"/>
                    <a:pt x="1342184" y="693729"/>
                    <a:pt x="1336962" y="651766"/>
                  </a:cubicBezTo>
                  <a:cubicBezTo>
                    <a:pt x="1330070" y="596437"/>
                    <a:pt x="1305214" y="519396"/>
                    <a:pt x="1257851" y="484393"/>
                  </a:cubicBezTo>
                  <a:cubicBezTo>
                    <a:pt x="1237376" y="468739"/>
                    <a:pt x="1211140" y="462700"/>
                    <a:pt x="1185885" y="467827"/>
                  </a:cubicBezTo>
                  <a:cubicBezTo>
                    <a:pt x="1160066" y="473309"/>
                    <a:pt x="1134862" y="481371"/>
                    <a:pt x="1110652" y="491890"/>
                  </a:cubicBezTo>
                  <a:cubicBezTo>
                    <a:pt x="1099429" y="496316"/>
                    <a:pt x="1088195" y="500731"/>
                    <a:pt x="1076834" y="504719"/>
                  </a:cubicBezTo>
                  <a:cubicBezTo>
                    <a:pt x="1024633" y="523056"/>
                    <a:pt x="946254" y="539820"/>
                    <a:pt x="869296" y="515374"/>
                  </a:cubicBezTo>
                  <a:cubicBezTo>
                    <a:pt x="743085" y="475323"/>
                    <a:pt x="735143" y="376655"/>
                    <a:pt x="727464" y="281243"/>
                  </a:cubicBezTo>
                  <a:cubicBezTo>
                    <a:pt x="726050" y="263650"/>
                    <a:pt x="724581" y="245454"/>
                    <a:pt x="722401" y="227691"/>
                  </a:cubicBezTo>
                  <a:cubicBezTo>
                    <a:pt x="716628" y="180701"/>
                    <a:pt x="698539" y="115904"/>
                    <a:pt x="645175" y="74082"/>
                  </a:cubicBezTo>
                  <a:cubicBezTo>
                    <a:pt x="540822" y="-7663"/>
                    <a:pt x="401639" y="45227"/>
                    <a:pt x="318077" y="139721"/>
                  </a:cubicBezTo>
                  <a:lnTo>
                    <a:pt x="317362" y="139087"/>
                  </a:lnTo>
                  <a:cubicBezTo>
                    <a:pt x="309683" y="149218"/>
                    <a:pt x="290010" y="171461"/>
                    <a:pt x="239650" y="228417"/>
                  </a:cubicBezTo>
                  <a:lnTo>
                    <a:pt x="235969" y="232587"/>
                  </a:lnTo>
                  <a:lnTo>
                    <a:pt x="230528" y="233728"/>
                  </a:lnTo>
                  <a:cubicBezTo>
                    <a:pt x="199087" y="240324"/>
                    <a:pt x="177781" y="254349"/>
                    <a:pt x="167202" y="275408"/>
                  </a:cubicBezTo>
                  <a:cubicBezTo>
                    <a:pt x="146307" y="317021"/>
                    <a:pt x="168257" y="377519"/>
                    <a:pt x="183205" y="409876"/>
                  </a:cubicBezTo>
                  <a:cubicBezTo>
                    <a:pt x="192189" y="429327"/>
                    <a:pt x="202243" y="447501"/>
                    <a:pt x="211971" y="465073"/>
                  </a:cubicBezTo>
                  <a:cubicBezTo>
                    <a:pt x="245684" y="525996"/>
                    <a:pt x="277531" y="583531"/>
                    <a:pt x="248710" y="667753"/>
                  </a:cubicBezTo>
                  <a:cubicBezTo>
                    <a:pt x="225193" y="736479"/>
                    <a:pt x="186018" y="795468"/>
                    <a:pt x="148135" y="852511"/>
                  </a:cubicBezTo>
                  <a:cubicBezTo>
                    <a:pt x="93084" y="935410"/>
                    <a:pt x="41084" y="1013709"/>
                    <a:pt x="35055" y="1118333"/>
                  </a:cubicBezTo>
                  <a:cubicBezTo>
                    <a:pt x="29396" y="1216586"/>
                    <a:pt x="34989" y="1397914"/>
                    <a:pt x="136039" y="1508362"/>
                  </a:cubicBezTo>
                  <a:cubicBezTo>
                    <a:pt x="190059" y="1567406"/>
                    <a:pt x="265095" y="1598812"/>
                    <a:pt x="359071" y="1601719"/>
                  </a:cubicBezTo>
                  <a:cubicBezTo>
                    <a:pt x="431798" y="1603937"/>
                    <a:pt x="493967" y="1584650"/>
                    <a:pt x="559762" y="1564225"/>
                  </a:cubicBezTo>
                  <a:cubicBezTo>
                    <a:pt x="584737" y="1556477"/>
                    <a:pt x="610560" y="1548456"/>
                    <a:pt x="637513" y="1541462"/>
                  </a:cubicBezTo>
                  <a:cubicBezTo>
                    <a:pt x="721437" y="1519605"/>
                    <a:pt x="807763" y="1508324"/>
                    <a:pt x="894484" y="15078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71" name="Google Shape;271;p14"/>
            <p:cNvSpPr/>
            <p:nvPr/>
          </p:nvSpPr>
          <p:spPr>
            <a:xfrm>
              <a:off x="8705096" y="3407598"/>
              <a:ext cx="2346433" cy="1683429"/>
            </a:xfrm>
            <a:custGeom>
              <a:avLst/>
              <a:gdLst/>
              <a:ahLst/>
              <a:cxnLst/>
              <a:rect l="l" t="t" r="r" b="b"/>
              <a:pathLst>
                <a:path w="1939201" h="1391264" extrusionOk="0">
                  <a:moveTo>
                    <a:pt x="1267674" y="1391264"/>
                  </a:moveTo>
                  <a:cubicBezTo>
                    <a:pt x="1161742" y="1391274"/>
                    <a:pt x="1046799" y="1287114"/>
                    <a:pt x="965193" y="1203161"/>
                  </a:cubicBezTo>
                  <a:cubicBezTo>
                    <a:pt x="929503" y="1165024"/>
                    <a:pt x="896376" y="1124564"/>
                    <a:pt x="866032" y="1082047"/>
                  </a:cubicBezTo>
                  <a:cubicBezTo>
                    <a:pt x="780319" y="967117"/>
                    <a:pt x="712597" y="876356"/>
                    <a:pt x="543692" y="913489"/>
                  </a:cubicBezTo>
                  <a:cubicBezTo>
                    <a:pt x="371403" y="951404"/>
                    <a:pt x="246890" y="922045"/>
                    <a:pt x="139974" y="818388"/>
                  </a:cubicBezTo>
                  <a:cubicBezTo>
                    <a:pt x="31933" y="713650"/>
                    <a:pt x="-22125" y="551021"/>
                    <a:pt x="8504" y="422897"/>
                  </a:cubicBezTo>
                  <a:cubicBezTo>
                    <a:pt x="39606" y="285532"/>
                    <a:pt x="127951" y="168035"/>
                    <a:pt x="251249" y="100053"/>
                  </a:cubicBezTo>
                  <a:cubicBezTo>
                    <a:pt x="484707" y="-34531"/>
                    <a:pt x="799358" y="-12948"/>
                    <a:pt x="997853" y="46424"/>
                  </a:cubicBezTo>
                  <a:cubicBezTo>
                    <a:pt x="1100519" y="77131"/>
                    <a:pt x="1189137" y="140666"/>
                    <a:pt x="1274841" y="202108"/>
                  </a:cubicBezTo>
                  <a:cubicBezTo>
                    <a:pt x="1365470" y="267085"/>
                    <a:pt x="1451073" y="328457"/>
                    <a:pt x="1550977" y="353335"/>
                  </a:cubicBezTo>
                  <a:cubicBezTo>
                    <a:pt x="1560483" y="355578"/>
                    <a:pt x="1570377" y="355617"/>
                    <a:pt x="1579900" y="353449"/>
                  </a:cubicBezTo>
                  <a:cubicBezTo>
                    <a:pt x="1591653" y="351051"/>
                    <a:pt x="1603746" y="350842"/>
                    <a:pt x="1615574" y="352831"/>
                  </a:cubicBezTo>
                  <a:cubicBezTo>
                    <a:pt x="1805092" y="387583"/>
                    <a:pt x="1821071" y="429005"/>
                    <a:pt x="1826325" y="442616"/>
                  </a:cubicBezTo>
                  <a:cubicBezTo>
                    <a:pt x="1830697" y="453810"/>
                    <a:pt x="1830174" y="466325"/>
                    <a:pt x="1824884" y="477115"/>
                  </a:cubicBezTo>
                  <a:cubicBezTo>
                    <a:pt x="1933700" y="626500"/>
                    <a:pt x="2000856" y="937470"/>
                    <a:pt x="1857009" y="1086811"/>
                  </a:cubicBezTo>
                  <a:cubicBezTo>
                    <a:pt x="1764304" y="1183064"/>
                    <a:pt x="1703037" y="1183485"/>
                    <a:pt x="1585285" y="1161476"/>
                  </a:cubicBezTo>
                  <a:lnTo>
                    <a:pt x="1574111" y="1159361"/>
                  </a:lnTo>
                  <a:cubicBezTo>
                    <a:pt x="1517694" y="1148635"/>
                    <a:pt x="1505984" y="1146423"/>
                    <a:pt x="1468289" y="1184895"/>
                  </a:cubicBezTo>
                  <a:cubicBezTo>
                    <a:pt x="1448637" y="1204969"/>
                    <a:pt x="1435213" y="1233109"/>
                    <a:pt x="1420992" y="1262899"/>
                  </a:cubicBezTo>
                  <a:cubicBezTo>
                    <a:pt x="1397551" y="1312041"/>
                    <a:pt x="1373301" y="1362851"/>
                    <a:pt x="1317594" y="1382778"/>
                  </a:cubicBezTo>
                  <a:cubicBezTo>
                    <a:pt x="1301569" y="1388468"/>
                    <a:pt x="1284680" y="1391339"/>
                    <a:pt x="1267675" y="1391264"/>
                  </a:cubicBezTo>
                  <a:close/>
                  <a:moveTo>
                    <a:pt x="615008" y="871547"/>
                  </a:moveTo>
                  <a:cubicBezTo>
                    <a:pt x="750914" y="871547"/>
                    <a:pt x="820199" y="964457"/>
                    <a:pt x="892925" y="1061966"/>
                  </a:cubicBezTo>
                  <a:cubicBezTo>
                    <a:pt x="922415" y="1103299"/>
                    <a:pt x="954592" y="1142646"/>
                    <a:pt x="989245" y="1179753"/>
                  </a:cubicBezTo>
                  <a:cubicBezTo>
                    <a:pt x="1040059" y="1232027"/>
                    <a:pt x="1194589" y="1391127"/>
                    <a:pt x="1306300" y="1351164"/>
                  </a:cubicBezTo>
                  <a:cubicBezTo>
                    <a:pt x="1348976" y="1335897"/>
                    <a:pt x="1369249" y="1293414"/>
                    <a:pt x="1390712" y="1248441"/>
                  </a:cubicBezTo>
                  <a:cubicBezTo>
                    <a:pt x="1405480" y="1217482"/>
                    <a:pt x="1420762" y="1185468"/>
                    <a:pt x="1444323" y="1161400"/>
                  </a:cubicBezTo>
                  <a:cubicBezTo>
                    <a:pt x="1494591" y="1110072"/>
                    <a:pt x="1521473" y="1115163"/>
                    <a:pt x="1580382" y="1126382"/>
                  </a:cubicBezTo>
                  <a:lnTo>
                    <a:pt x="1591446" y="1128474"/>
                  </a:lnTo>
                  <a:cubicBezTo>
                    <a:pt x="1701464" y="1149041"/>
                    <a:pt x="1750749" y="1148762"/>
                    <a:pt x="1832847" y="1063513"/>
                  </a:cubicBezTo>
                  <a:cubicBezTo>
                    <a:pt x="1962886" y="928504"/>
                    <a:pt x="1898375" y="626292"/>
                    <a:pt x="1791426" y="488442"/>
                  </a:cubicBezTo>
                  <a:lnTo>
                    <a:pt x="1783496" y="478230"/>
                  </a:lnTo>
                  <a:lnTo>
                    <a:pt x="1791350" y="467957"/>
                  </a:lnTo>
                  <a:cubicBezTo>
                    <a:pt x="1797183" y="460308"/>
                    <a:pt x="1795730" y="456526"/>
                    <a:pt x="1795020" y="454707"/>
                  </a:cubicBezTo>
                  <a:cubicBezTo>
                    <a:pt x="1788029" y="436583"/>
                    <a:pt x="1735621" y="408974"/>
                    <a:pt x="1609524" y="385856"/>
                  </a:cubicBezTo>
                  <a:cubicBezTo>
                    <a:pt x="1601425" y="384582"/>
                    <a:pt x="1593160" y="384836"/>
                    <a:pt x="1585154" y="386605"/>
                  </a:cubicBezTo>
                  <a:cubicBezTo>
                    <a:pt x="1571184" y="389528"/>
                    <a:pt x="1556738" y="389291"/>
                    <a:pt x="1542871" y="385911"/>
                  </a:cubicBezTo>
                  <a:cubicBezTo>
                    <a:pt x="1436743" y="359482"/>
                    <a:pt x="1344497" y="293351"/>
                    <a:pt x="1255288" y="229396"/>
                  </a:cubicBezTo>
                  <a:cubicBezTo>
                    <a:pt x="1171836" y="169560"/>
                    <a:pt x="1085533" y="107686"/>
                    <a:pt x="988240" y="78584"/>
                  </a:cubicBezTo>
                  <a:cubicBezTo>
                    <a:pt x="780953" y="16580"/>
                    <a:pt x="477858" y="8170"/>
                    <a:pt x="267992" y="129143"/>
                  </a:cubicBezTo>
                  <a:cubicBezTo>
                    <a:pt x="152786" y="192628"/>
                    <a:pt x="70224" y="302382"/>
                    <a:pt x="41142" y="430710"/>
                  </a:cubicBezTo>
                  <a:cubicBezTo>
                    <a:pt x="13124" y="547873"/>
                    <a:pt x="63371" y="697384"/>
                    <a:pt x="163328" y="794281"/>
                  </a:cubicBezTo>
                  <a:cubicBezTo>
                    <a:pt x="261275" y="889235"/>
                    <a:pt x="376328" y="915899"/>
                    <a:pt x="536482" y="880705"/>
                  </a:cubicBezTo>
                  <a:cubicBezTo>
                    <a:pt x="562250" y="874823"/>
                    <a:pt x="588579" y="871752"/>
                    <a:pt x="615008" y="8715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72" name="Google Shape;272;p14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273" name="Google Shape;273;p14"/>
          <p:cNvSpPr txBox="1">
            <a:spLocks noGrp="1"/>
          </p:cNvSpPr>
          <p:nvPr>
            <p:ph type="subTitle" idx="1"/>
          </p:nvPr>
        </p:nvSpPr>
        <p:spPr>
          <a:xfrm>
            <a:off x="960000" y="3888267"/>
            <a:ext cx="3152800" cy="18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4" name="Google Shape;274;p14"/>
          <p:cNvSpPr txBox="1">
            <a:spLocks noGrp="1"/>
          </p:cNvSpPr>
          <p:nvPr>
            <p:ph type="subTitle" idx="2"/>
          </p:nvPr>
        </p:nvSpPr>
        <p:spPr>
          <a:xfrm>
            <a:off x="4549800" y="3888267"/>
            <a:ext cx="3152800" cy="18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5" name="Google Shape;275;p14"/>
          <p:cNvSpPr txBox="1">
            <a:spLocks noGrp="1"/>
          </p:cNvSpPr>
          <p:nvPr>
            <p:ph type="subTitle" idx="3"/>
          </p:nvPr>
        </p:nvSpPr>
        <p:spPr>
          <a:xfrm>
            <a:off x="8139611" y="3888267"/>
            <a:ext cx="3152800" cy="1880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76" name="Google Shape;276;p14"/>
          <p:cNvSpPr txBox="1">
            <a:spLocks noGrp="1"/>
          </p:cNvSpPr>
          <p:nvPr>
            <p:ph type="subTitle" idx="4"/>
          </p:nvPr>
        </p:nvSpPr>
        <p:spPr>
          <a:xfrm>
            <a:off x="960000" y="2918133"/>
            <a:ext cx="3152800" cy="97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277" name="Google Shape;277;p14"/>
          <p:cNvSpPr txBox="1">
            <a:spLocks noGrp="1"/>
          </p:cNvSpPr>
          <p:nvPr>
            <p:ph type="subTitle" idx="5"/>
          </p:nvPr>
        </p:nvSpPr>
        <p:spPr>
          <a:xfrm>
            <a:off x="4549801" y="2918133"/>
            <a:ext cx="3152800" cy="97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278" name="Google Shape;278;p14"/>
          <p:cNvSpPr txBox="1">
            <a:spLocks noGrp="1"/>
          </p:cNvSpPr>
          <p:nvPr>
            <p:ph type="subTitle" idx="6"/>
          </p:nvPr>
        </p:nvSpPr>
        <p:spPr>
          <a:xfrm>
            <a:off x="8139601" y="2918133"/>
            <a:ext cx="3152800" cy="970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CUSTOM_5">
    <p:spTree>
      <p:nvGrpSpPr>
        <p:cNvPr id="1" name="Shape 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0" name="Google Shape;280;p15"/>
          <p:cNvGrpSpPr/>
          <p:nvPr/>
        </p:nvGrpSpPr>
        <p:grpSpPr>
          <a:xfrm>
            <a:off x="-1905167" y="-1430626"/>
            <a:ext cx="15147904" cy="9135276"/>
            <a:chOff x="-1428875" y="-1072970"/>
            <a:chExt cx="11360928" cy="6851457"/>
          </a:xfrm>
        </p:grpSpPr>
        <p:sp>
          <p:nvSpPr>
            <p:cNvPr id="281" name="Google Shape;281;p15"/>
            <p:cNvSpPr/>
            <p:nvPr/>
          </p:nvSpPr>
          <p:spPr>
            <a:xfrm>
              <a:off x="7824028" y="3734333"/>
              <a:ext cx="2108025" cy="2044154"/>
            </a:xfrm>
            <a:custGeom>
              <a:avLst/>
              <a:gdLst/>
              <a:ahLst/>
              <a:cxnLst/>
              <a:rect l="l" t="t" r="r" b="b"/>
              <a:pathLst>
                <a:path w="1903409" h="1845737" extrusionOk="0">
                  <a:moveTo>
                    <a:pt x="1093751" y="1845737"/>
                  </a:moveTo>
                  <a:cubicBezTo>
                    <a:pt x="1091621" y="1845737"/>
                    <a:pt x="1089502" y="1845704"/>
                    <a:pt x="1087372" y="1845628"/>
                  </a:cubicBezTo>
                  <a:cubicBezTo>
                    <a:pt x="1015564" y="1843158"/>
                    <a:pt x="956360" y="1784738"/>
                    <a:pt x="904136" y="1733190"/>
                  </a:cubicBezTo>
                  <a:cubicBezTo>
                    <a:pt x="884306" y="1712576"/>
                    <a:pt x="863092" y="1693342"/>
                    <a:pt x="840641" y="1675622"/>
                  </a:cubicBezTo>
                  <a:cubicBezTo>
                    <a:pt x="784340" y="1632990"/>
                    <a:pt x="716602" y="1608139"/>
                    <a:pt x="646100" y="1604252"/>
                  </a:cubicBezTo>
                  <a:cubicBezTo>
                    <a:pt x="593304" y="1601687"/>
                    <a:pt x="540410" y="1601924"/>
                    <a:pt x="487639" y="1604963"/>
                  </a:cubicBezTo>
                  <a:cubicBezTo>
                    <a:pt x="313176" y="1611945"/>
                    <a:pt x="148379" y="1618524"/>
                    <a:pt x="51425" y="1406062"/>
                  </a:cubicBezTo>
                  <a:cubicBezTo>
                    <a:pt x="-35173" y="1216322"/>
                    <a:pt x="-11820" y="1047157"/>
                    <a:pt x="117171" y="929736"/>
                  </a:cubicBezTo>
                  <a:cubicBezTo>
                    <a:pt x="190475" y="863010"/>
                    <a:pt x="255959" y="836128"/>
                    <a:pt x="355917" y="908263"/>
                  </a:cubicBezTo>
                  <a:cubicBezTo>
                    <a:pt x="396071" y="937255"/>
                    <a:pt x="421292" y="979087"/>
                    <a:pt x="445694" y="1019542"/>
                  </a:cubicBezTo>
                  <a:cubicBezTo>
                    <a:pt x="471319" y="1062019"/>
                    <a:pt x="495514" y="1102147"/>
                    <a:pt x="534029" y="1121565"/>
                  </a:cubicBezTo>
                  <a:cubicBezTo>
                    <a:pt x="592216" y="1150928"/>
                    <a:pt x="661076" y="1155551"/>
                    <a:pt x="713748" y="1133576"/>
                  </a:cubicBezTo>
                  <a:cubicBezTo>
                    <a:pt x="749381" y="1119598"/>
                    <a:pt x="776832" y="1090316"/>
                    <a:pt x="788494" y="1053846"/>
                  </a:cubicBezTo>
                  <a:cubicBezTo>
                    <a:pt x="824846" y="941910"/>
                    <a:pt x="848702" y="895608"/>
                    <a:pt x="955934" y="853208"/>
                  </a:cubicBezTo>
                  <a:lnTo>
                    <a:pt x="960991" y="851209"/>
                  </a:lnTo>
                  <a:cubicBezTo>
                    <a:pt x="1004902" y="833910"/>
                    <a:pt x="1015333" y="829801"/>
                    <a:pt x="1032493" y="783641"/>
                  </a:cubicBezTo>
                  <a:cubicBezTo>
                    <a:pt x="1045088" y="749775"/>
                    <a:pt x="1053968" y="681694"/>
                    <a:pt x="1038666" y="656232"/>
                  </a:cubicBezTo>
                  <a:cubicBezTo>
                    <a:pt x="1022280" y="628967"/>
                    <a:pt x="984050" y="618684"/>
                    <a:pt x="943568" y="607800"/>
                  </a:cubicBezTo>
                  <a:cubicBezTo>
                    <a:pt x="893739" y="594392"/>
                    <a:pt x="837254" y="579201"/>
                    <a:pt x="818226" y="525437"/>
                  </a:cubicBezTo>
                  <a:cubicBezTo>
                    <a:pt x="799471" y="472435"/>
                    <a:pt x="815157" y="394760"/>
                    <a:pt x="864856" y="294562"/>
                  </a:cubicBezTo>
                  <a:cubicBezTo>
                    <a:pt x="900541" y="224371"/>
                    <a:pt x="942574" y="157596"/>
                    <a:pt x="990429" y="95073"/>
                  </a:cubicBezTo>
                  <a:cubicBezTo>
                    <a:pt x="1036284" y="35679"/>
                    <a:pt x="1087754" y="3791"/>
                    <a:pt x="1143385" y="305"/>
                  </a:cubicBezTo>
                  <a:cubicBezTo>
                    <a:pt x="1200491" y="-3169"/>
                    <a:pt x="1256985" y="23036"/>
                    <a:pt x="1312005" y="78386"/>
                  </a:cubicBezTo>
                  <a:cubicBezTo>
                    <a:pt x="1334019" y="103583"/>
                    <a:pt x="1353576" y="130826"/>
                    <a:pt x="1370411" y="159744"/>
                  </a:cubicBezTo>
                  <a:cubicBezTo>
                    <a:pt x="1415162" y="230108"/>
                    <a:pt x="1470980" y="317762"/>
                    <a:pt x="1532859" y="304397"/>
                  </a:cubicBezTo>
                  <a:cubicBezTo>
                    <a:pt x="1555404" y="299567"/>
                    <a:pt x="1579009" y="278312"/>
                    <a:pt x="1604001" y="255822"/>
                  </a:cubicBezTo>
                  <a:cubicBezTo>
                    <a:pt x="1632751" y="229945"/>
                    <a:pt x="1662484" y="203182"/>
                    <a:pt x="1698486" y="193173"/>
                  </a:cubicBezTo>
                  <a:cubicBezTo>
                    <a:pt x="1757919" y="176649"/>
                    <a:pt x="1801600" y="174573"/>
                    <a:pt x="1849017" y="212886"/>
                  </a:cubicBezTo>
                  <a:cubicBezTo>
                    <a:pt x="1956468" y="299643"/>
                    <a:pt x="1880105" y="427259"/>
                    <a:pt x="1829574" y="511700"/>
                  </a:cubicBezTo>
                  <a:cubicBezTo>
                    <a:pt x="1825488" y="518530"/>
                    <a:pt x="1821502" y="525174"/>
                    <a:pt x="1817734" y="531610"/>
                  </a:cubicBezTo>
                  <a:cubicBezTo>
                    <a:pt x="1792402" y="582320"/>
                    <a:pt x="1762094" y="630384"/>
                    <a:pt x="1727258" y="675094"/>
                  </a:cubicBezTo>
                  <a:cubicBezTo>
                    <a:pt x="1668590" y="755545"/>
                    <a:pt x="1613166" y="831527"/>
                    <a:pt x="1604078" y="951593"/>
                  </a:cubicBezTo>
                  <a:cubicBezTo>
                    <a:pt x="1601576" y="984584"/>
                    <a:pt x="1599905" y="1017225"/>
                    <a:pt x="1598288" y="1048807"/>
                  </a:cubicBezTo>
                  <a:cubicBezTo>
                    <a:pt x="1591440" y="1182554"/>
                    <a:pt x="1584973" y="1308881"/>
                    <a:pt x="1518265" y="1440617"/>
                  </a:cubicBezTo>
                  <a:cubicBezTo>
                    <a:pt x="1471695" y="1531885"/>
                    <a:pt x="1414362" y="1617243"/>
                    <a:pt x="1347494" y="1694866"/>
                  </a:cubicBezTo>
                  <a:cubicBezTo>
                    <a:pt x="1258449" y="1795010"/>
                    <a:pt x="1173118" y="1845737"/>
                    <a:pt x="1093751" y="1845737"/>
                  </a:cubicBezTo>
                  <a:close/>
                  <a:moveTo>
                    <a:pt x="584526" y="1568813"/>
                  </a:moveTo>
                  <a:cubicBezTo>
                    <a:pt x="605641" y="1568813"/>
                    <a:pt x="626920" y="1569347"/>
                    <a:pt x="648296" y="1570746"/>
                  </a:cubicBezTo>
                  <a:cubicBezTo>
                    <a:pt x="725196" y="1574976"/>
                    <a:pt x="799084" y="1602072"/>
                    <a:pt x="860499" y="1648564"/>
                  </a:cubicBezTo>
                  <a:cubicBezTo>
                    <a:pt x="884284" y="1667217"/>
                    <a:pt x="906738" y="1687509"/>
                    <a:pt x="927698" y="1709291"/>
                  </a:cubicBezTo>
                  <a:cubicBezTo>
                    <a:pt x="977889" y="1758828"/>
                    <a:pt x="1029796" y="1810058"/>
                    <a:pt x="1088529" y="1812078"/>
                  </a:cubicBezTo>
                  <a:cubicBezTo>
                    <a:pt x="1090255" y="1812133"/>
                    <a:pt x="1091992" y="1812167"/>
                    <a:pt x="1093728" y="1812167"/>
                  </a:cubicBezTo>
                  <a:cubicBezTo>
                    <a:pt x="1250518" y="1812177"/>
                    <a:pt x="1415152" y="1570026"/>
                    <a:pt x="1488336" y="1425449"/>
                  </a:cubicBezTo>
                  <a:cubicBezTo>
                    <a:pt x="1551821" y="1300051"/>
                    <a:pt x="1558113" y="1177177"/>
                    <a:pt x="1564776" y="1047081"/>
                  </a:cubicBezTo>
                  <a:cubicBezTo>
                    <a:pt x="1566403" y="1015313"/>
                    <a:pt x="1568086" y="982453"/>
                    <a:pt x="1570610" y="949057"/>
                  </a:cubicBezTo>
                  <a:cubicBezTo>
                    <a:pt x="1580429" y="819452"/>
                    <a:pt x="1641292" y="736006"/>
                    <a:pt x="1700157" y="655303"/>
                  </a:cubicBezTo>
                  <a:cubicBezTo>
                    <a:pt x="1733824" y="612140"/>
                    <a:pt x="1763122" y="565738"/>
                    <a:pt x="1787619" y="516781"/>
                  </a:cubicBezTo>
                  <a:lnTo>
                    <a:pt x="1788372" y="515327"/>
                  </a:lnTo>
                  <a:cubicBezTo>
                    <a:pt x="1792316" y="508596"/>
                    <a:pt x="1796488" y="501624"/>
                    <a:pt x="1800780" y="494455"/>
                  </a:cubicBezTo>
                  <a:cubicBezTo>
                    <a:pt x="1862015" y="392137"/>
                    <a:pt x="1906320" y="302287"/>
                    <a:pt x="1827937" y="239004"/>
                  </a:cubicBezTo>
                  <a:cubicBezTo>
                    <a:pt x="1791115" y="209280"/>
                    <a:pt x="1759764" y="210985"/>
                    <a:pt x="1707465" y="225519"/>
                  </a:cubicBezTo>
                  <a:cubicBezTo>
                    <a:pt x="1679065" y="233409"/>
                    <a:pt x="1652314" y="257494"/>
                    <a:pt x="1626448" y="280782"/>
                  </a:cubicBezTo>
                  <a:cubicBezTo>
                    <a:pt x="1598026" y="306353"/>
                    <a:pt x="1571188" y="330515"/>
                    <a:pt x="1539894" y="337224"/>
                  </a:cubicBezTo>
                  <a:cubicBezTo>
                    <a:pt x="1455043" y="355376"/>
                    <a:pt x="1392443" y="256904"/>
                    <a:pt x="1342098" y="177764"/>
                  </a:cubicBezTo>
                  <a:cubicBezTo>
                    <a:pt x="1326471" y="150944"/>
                    <a:pt x="1308436" y="125603"/>
                    <a:pt x="1288214" y="102056"/>
                  </a:cubicBezTo>
                  <a:cubicBezTo>
                    <a:pt x="1240295" y="53841"/>
                    <a:pt x="1192397" y="30881"/>
                    <a:pt x="1145483" y="33811"/>
                  </a:cubicBezTo>
                  <a:cubicBezTo>
                    <a:pt x="1099911" y="36662"/>
                    <a:pt x="1056677" y="64179"/>
                    <a:pt x="1016994" y="115596"/>
                  </a:cubicBezTo>
                  <a:cubicBezTo>
                    <a:pt x="943896" y="210286"/>
                    <a:pt x="814894" y="415457"/>
                    <a:pt x="849860" y="514224"/>
                  </a:cubicBezTo>
                  <a:cubicBezTo>
                    <a:pt x="863000" y="551368"/>
                    <a:pt x="906366" y="563028"/>
                    <a:pt x="952275" y="575376"/>
                  </a:cubicBezTo>
                  <a:cubicBezTo>
                    <a:pt x="997409" y="587506"/>
                    <a:pt x="1044072" y="600063"/>
                    <a:pt x="1067426" y="638933"/>
                  </a:cubicBezTo>
                  <a:cubicBezTo>
                    <a:pt x="1091293" y="678656"/>
                    <a:pt x="1076940" y="760397"/>
                    <a:pt x="1063952" y="795345"/>
                  </a:cubicBezTo>
                  <a:cubicBezTo>
                    <a:pt x="1041571" y="855547"/>
                    <a:pt x="1020173" y="863972"/>
                    <a:pt x="973280" y="882451"/>
                  </a:cubicBezTo>
                  <a:lnTo>
                    <a:pt x="968265" y="884429"/>
                  </a:lnTo>
                  <a:cubicBezTo>
                    <a:pt x="870592" y="923060"/>
                    <a:pt x="854000" y="960793"/>
                    <a:pt x="820411" y="1064226"/>
                  </a:cubicBezTo>
                  <a:cubicBezTo>
                    <a:pt x="805825" y="1110075"/>
                    <a:pt x="771392" y="1146924"/>
                    <a:pt x="726647" y="1164567"/>
                  </a:cubicBezTo>
                  <a:cubicBezTo>
                    <a:pt x="665216" y="1190171"/>
                    <a:pt x="585619" y="1185177"/>
                    <a:pt x="518912" y="1151551"/>
                  </a:cubicBezTo>
                  <a:cubicBezTo>
                    <a:pt x="471778" y="1127761"/>
                    <a:pt x="443913" y="1081569"/>
                    <a:pt x="416967" y="1036884"/>
                  </a:cubicBezTo>
                  <a:cubicBezTo>
                    <a:pt x="394301" y="999314"/>
                    <a:pt x="370872" y="960465"/>
                    <a:pt x="336277" y="935496"/>
                  </a:cubicBezTo>
                  <a:cubicBezTo>
                    <a:pt x="262153" y="881971"/>
                    <a:pt x="214386" y="886626"/>
                    <a:pt x="139761" y="954565"/>
                  </a:cubicBezTo>
                  <a:cubicBezTo>
                    <a:pt x="56766" y="1030110"/>
                    <a:pt x="-20635" y="1167342"/>
                    <a:pt x="81944" y="1392118"/>
                  </a:cubicBezTo>
                  <a:cubicBezTo>
                    <a:pt x="169558" y="1584100"/>
                    <a:pt x="316344" y="1578233"/>
                    <a:pt x="486306" y="1571413"/>
                  </a:cubicBezTo>
                  <a:cubicBezTo>
                    <a:pt x="518464" y="1570124"/>
                    <a:pt x="551299" y="1568813"/>
                    <a:pt x="584526" y="156881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2" name="Google Shape;282;p15"/>
            <p:cNvSpPr/>
            <p:nvPr/>
          </p:nvSpPr>
          <p:spPr>
            <a:xfrm rot="4634833">
              <a:off x="-1950989" y="-110110"/>
              <a:ext cx="3094168" cy="1401492"/>
            </a:xfrm>
            <a:custGeom>
              <a:avLst/>
              <a:gdLst/>
              <a:ahLst/>
              <a:cxnLst/>
              <a:rect l="l" t="t" r="r" b="b"/>
              <a:pathLst>
                <a:path w="2787843" h="1262743" extrusionOk="0">
                  <a:moveTo>
                    <a:pt x="853688" y="1262743"/>
                  </a:moveTo>
                  <a:cubicBezTo>
                    <a:pt x="805713" y="1262749"/>
                    <a:pt x="763571" y="1255094"/>
                    <a:pt x="734812" y="1235593"/>
                  </a:cubicBezTo>
                  <a:cubicBezTo>
                    <a:pt x="704631" y="1215130"/>
                    <a:pt x="691081" y="1182904"/>
                    <a:pt x="695614" y="1142394"/>
                  </a:cubicBezTo>
                  <a:cubicBezTo>
                    <a:pt x="712074" y="995380"/>
                    <a:pt x="870979" y="933950"/>
                    <a:pt x="1024650" y="874545"/>
                  </a:cubicBezTo>
                  <a:cubicBezTo>
                    <a:pt x="1154373" y="824397"/>
                    <a:pt x="1288509" y="772538"/>
                    <a:pt x="1335194" y="671449"/>
                  </a:cubicBezTo>
                  <a:cubicBezTo>
                    <a:pt x="1371169" y="593550"/>
                    <a:pt x="1355369" y="481539"/>
                    <a:pt x="1274505" y="438947"/>
                  </a:cubicBezTo>
                  <a:cubicBezTo>
                    <a:pt x="1164378" y="380953"/>
                    <a:pt x="978811" y="463229"/>
                    <a:pt x="888079" y="537107"/>
                  </a:cubicBezTo>
                  <a:cubicBezTo>
                    <a:pt x="801344" y="607734"/>
                    <a:pt x="764516" y="697261"/>
                    <a:pt x="725527" y="792045"/>
                  </a:cubicBezTo>
                  <a:cubicBezTo>
                    <a:pt x="696630" y="862289"/>
                    <a:pt x="666750" y="934922"/>
                    <a:pt x="614903" y="999490"/>
                  </a:cubicBezTo>
                  <a:cubicBezTo>
                    <a:pt x="520703" y="1116806"/>
                    <a:pt x="352645" y="1137307"/>
                    <a:pt x="153839" y="1055746"/>
                  </a:cubicBezTo>
                  <a:cubicBezTo>
                    <a:pt x="37054" y="1007833"/>
                    <a:pt x="6235" y="932648"/>
                    <a:pt x="943" y="878014"/>
                  </a:cubicBezTo>
                  <a:cubicBezTo>
                    <a:pt x="-12122" y="743082"/>
                    <a:pt x="113456" y="582425"/>
                    <a:pt x="239187" y="498488"/>
                  </a:cubicBezTo>
                  <a:cubicBezTo>
                    <a:pt x="256095" y="474047"/>
                    <a:pt x="270416" y="448482"/>
                    <a:pt x="285544" y="421462"/>
                  </a:cubicBezTo>
                  <a:cubicBezTo>
                    <a:pt x="333704" y="335464"/>
                    <a:pt x="383502" y="246545"/>
                    <a:pt x="522980" y="179726"/>
                  </a:cubicBezTo>
                  <a:cubicBezTo>
                    <a:pt x="745899" y="72927"/>
                    <a:pt x="1022837" y="55415"/>
                    <a:pt x="1267171" y="39963"/>
                  </a:cubicBezTo>
                  <a:cubicBezTo>
                    <a:pt x="1299197" y="37936"/>
                    <a:pt x="1330802" y="35937"/>
                    <a:pt x="1361814" y="33772"/>
                  </a:cubicBezTo>
                  <a:cubicBezTo>
                    <a:pt x="1396669" y="31346"/>
                    <a:pt x="1431736" y="28835"/>
                    <a:pt x="1467014" y="26238"/>
                  </a:cubicBezTo>
                  <a:cubicBezTo>
                    <a:pt x="1704237" y="9004"/>
                    <a:pt x="1949503" y="-8830"/>
                    <a:pt x="2185120" y="4857"/>
                  </a:cubicBezTo>
                  <a:lnTo>
                    <a:pt x="2190194" y="5152"/>
                  </a:lnTo>
                  <a:cubicBezTo>
                    <a:pt x="2347618" y="14282"/>
                    <a:pt x="2543540" y="25642"/>
                    <a:pt x="2672170" y="137265"/>
                  </a:cubicBezTo>
                  <a:cubicBezTo>
                    <a:pt x="2885117" y="322062"/>
                    <a:pt x="2759576" y="513984"/>
                    <a:pt x="2648817" y="683306"/>
                  </a:cubicBezTo>
                  <a:cubicBezTo>
                    <a:pt x="2635053" y="704348"/>
                    <a:pt x="2620821" y="726111"/>
                    <a:pt x="2607637" y="747229"/>
                  </a:cubicBezTo>
                  <a:cubicBezTo>
                    <a:pt x="2592634" y="771266"/>
                    <a:pt x="2578286" y="796011"/>
                    <a:pt x="2564408" y="819944"/>
                  </a:cubicBezTo>
                  <a:cubicBezTo>
                    <a:pt x="2488023" y="951702"/>
                    <a:pt x="2415368" y="1076968"/>
                    <a:pt x="2243853" y="1076985"/>
                  </a:cubicBezTo>
                  <a:cubicBezTo>
                    <a:pt x="2220253" y="1076865"/>
                    <a:pt x="2196705" y="1074752"/>
                    <a:pt x="2173460" y="1070668"/>
                  </a:cubicBezTo>
                  <a:cubicBezTo>
                    <a:pt x="2087762" y="1056079"/>
                    <a:pt x="2066560" y="1044868"/>
                    <a:pt x="2055087" y="968055"/>
                  </a:cubicBezTo>
                  <a:cubicBezTo>
                    <a:pt x="2044895" y="899870"/>
                    <a:pt x="2082444" y="840422"/>
                    <a:pt x="2118757" y="782930"/>
                  </a:cubicBezTo>
                  <a:cubicBezTo>
                    <a:pt x="2156540" y="723106"/>
                    <a:pt x="2192231" y="666602"/>
                    <a:pt x="2181171" y="599833"/>
                  </a:cubicBezTo>
                  <a:cubicBezTo>
                    <a:pt x="2176153" y="569520"/>
                    <a:pt x="2165650" y="549439"/>
                    <a:pt x="2149069" y="538434"/>
                  </a:cubicBezTo>
                  <a:cubicBezTo>
                    <a:pt x="2117157" y="517278"/>
                    <a:pt x="2060602" y="528518"/>
                    <a:pt x="1995446" y="544166"/>
                  </a:cubicBezTo>
                  <a:cubicBezTo>
                    <a:pt x="1819234" y="586495"/>
                    <a:pt x="1662718" y="690065"/>
                    <a:pt x="1542826" y="843690"/>
                  </a:cubicBezTo>
                  <a:cubicBezTo>
                    <a:pt x="1525731" y="865600"/>
                    <a:pt x="1509188" y="887954"/>
                    <a:pt x="1491673" y="911623"/>
                  </a:cubicBezTo>
                  <a:cubicBezTo>
                    <a:pt x="1418744" y="1010172"/>
                    <a:pt x="1343332" y="1112074"/>
                    <a:pt x="1233560" y="1170807"/>
                  </a:cubicBezTo>
                  <a:cubicBezTo>
                    <a:pt x="1184553" y="1197028"/>
                    <a:pt x="994202" y="1262738"/>
                    <a:pt x="853688" y="1262743"/>
                  </a:cubicBezTo>
                  <a:close/>
                  <a:moveTo>
                    <a:pt x="1185985" y="385886"/>
                  </a:moveTo>
                  <a:cubicBezTo>
                    <a:pt x="1222085" y="385077"/>
                    <a:pt x="1257836" y="393095"/>
                    <a:pt x="1290136" y="409245"/>
                  </a:cubicBezTo>
                  <a:cubicBezTo>
                    <a:pt x="1368706" y="450628"/>
                    <a:pt x="1419924" y="568023"/>
                    <a:pt x="1365659" y="685525"/>
                  </a:cubicBezTo>
                  <a:cubicBezTo>
                    <a:pt x="1313276" y="798957"/>
                    <a:pt x="1172697" y="853301"/>
                    <a:pt x="1036748" y="905859"/>
                  </a:cubicBezTo>
                  <a:cubicBezTo>
                    <a:pt x="885764" y="964225"/>
                    <a:pt x="743156" y="1019351"/>
                    <a:pt x="728962" y="1146131"/>
                  </a:cubicBezTo>
                  <a:cubicBezTo>
                    <a:pt x="725772" y="1174626"/>
                    <a:pt x="733609" y="1194225"/>
                    <a:pt x="753638" y="1207803"/>
                  </a:cubicBezTo>
                  <a:cubicBezTo>
                    <a:pt x="847182" y="1271223"/>
                    <a:pt x="1152675" y="1176014"/>
                    <a:pt x="1217733" y="1141203"/>
                  </a:cubicBezTo>
                  <a:cubicBezTo>
                    <a:pt x="1320852" y="1086033"/>
                    <a:pt x="1393982" y="987212"/>
                    <a:pt x="1464703" y="891647"/>
                  </a:cubicBezTo>
                  <a:cubicBezTo>
                    <a:pt x="1481568" y="868852"/>
                    <a:pt x="1499013" y="845280"/>
                    <a:pt x="1516381" y="823030"/>
                  </a:cubicBezTo>
                  <a:cubicBezTo>
                    <a:pt x="1640992" y="663357"/>
                    <a:pt x="1803942" y="555640"/>
                    <a:pt x="1987614" y="511524"/>
                  </a:cubicBezTo>
                  <a:cubicBezTo>
                    <a:pt x="2063158" y="493384"/>
                    <a:pt x="2124398" y="481795"/>
                    <a:pt x="2167610" y="510459"/>
                  </a:cubicBezTo>
                  <a:cubicBezTo>
                    <a:pt x="2192385" y="526890"/>
                    <a:pt x="2207649" y="554329"/>
                    <a:pt x="2214280" y="594347"/>
                  </a:cubicBezTo>
                  <a:cubicBezTo>
                    <a:pt x="2227426" y="673728"/>
                    <a:pt x="2186601" y="738361"/>
                    <a:pt x="2147125" y="800864"/>
                  </a:cubicBezTo>
                  <a:cubicBezTo>
                    <a:pt x="2112569" y="855574"/>
                    <a:pt x="2079926" y="907252"/>
                    <a:pt x="2088271" y="963093"/>
                  </a:cubicBezTo>
                  <a:cubicBezTo>
                    <a:pt x="2096812" y="1020257"/>
                    <a:pt x="2101903" y="1024438"/>
                    <a:pt x="2179085" y="1037579"/>
                  </a:cubicBezTo>
                  <a:cubicBezTo>
                    <a:pt x="2379645" y="1071680"/>
                    <a:pt x="2451819" y="947232"/>
                    <a:pt x="2535380" y="803104"/>
                  </a:cubicBezTo>
                  <a:cubicBezTo>
                    <a:pt x="2549394" y="778936"/>
                    <a:pt x="2563879" y="753944"/>
                    <a:pt x="2579171" y="729450"/>
                  </a:cubicBezTo>
                  <a:cubicBezTo>
                    <a:pt x="2592546" y="708025"/>
                    <a:pt x="2606878" y="686115"/>
                    <a:pt x="2620739" y="664925"/>
                  </a:cubicBezTo>
                  <a:cubicBezTo>
                    <a:pt x="2734006" y="491767"/>
                    <a:pt x="2840993" y="328214"/>
                    <a:pt x="2650183" y="162629"/>
                  </a:cubicBezTo>
                  <a:cubicBezTo>
                    <a:pt x="2530186" y="58497"/>
                    <a:pt x="2348524" y="47963"/>
                    <a:pt x="2188249" y="38668"/>
                  </a:cubicBezTo>
                  <a:lnTo>
                    <a:pt x="2183176" y="38373"/>
                  </a:lnTo>
                  <a:cubicBezTo>
                    <a:pt x="1949782" y="24834"/>
                    <a:pt x="1705597" y="42575"/>
                    <a:pt x="1469445" y="59716"/>
                  </a:cubicBezTo>
                  <a:cubicBezTo>
                    <a:pt x="1434152" y="62283"/>
                    <a:pt x="1399054" y="64800"/>
                    <a:pt x="1364151" y="67267"/>
                  </a:cubicBezTo>
                  <a:cubicBezTo>
                    <a:pt x="1333070" y="69430"/>
                    <a:pt x="1301392" y="71435"/>
                    <a:pt x="1269283" y="73463"/>
                  </a:cubicBezTo>
                  <a:cubicBezTo>
                    <a:pt x="1027999" y="88723"/>
                    <a:pt x="754517" y="106016"/>
                    <a:pt x="537475" y="210007"/>
                  </a:cubicBezTo>
                  <a:cubicBezTo>
                    <a:pt x="407583" y="272231"/>
                    <a:pt x="360428" y="356436"/>
                    <a:pt x="314818" y="437870"/>
                  </a:cubicBezTo>
                  <a:cubicBezTo>
                    <a:pt x="299570" y="466194"/>
                    <a:pt x="282892" y="493725"/>
                    <a:pt x="264850" y="520355"/>
                  </a:cubicBezTo>
                  <a:lnTo>
                    <a:pt x="263016" y="522972"/>
                  </a:lnTo>
                  <a:lnTo>
                    <a:pt x="260350" y="524731"/>
                  </a:lnTo>
                  <a:cubicBezTo>
                    <a:pt x="141911" y="602757"/>
                    <a:pt x="22451" y="751961"/>
                    <a:pt x="34345" y="874780"/>
                  </a:cubicBezTo>
                  <a:cubicBezTo>
                    <a:pt x="40747" y="940883"/>
                    <a:pt x="85230" y="991315"/>
                    <a:pt x="166575" y="1024689"/>
                  </a:cubicBezTo>
                  <a:cubicBezTo>
                    <a:pt x="253655" y="1060397"/>
                    <a:pt x="469123" y="1127423"/>
                    <a:pt x="588742" y="978464"/>
                  </a:cubicBezTo>
                  <a:cubicBezTo>
                    <a:pt x="637557" y="917672"/>
                    <a:pt x="666504" y="847313"/>
                    <a:pt x="694495" y="779270"/>
                  </a:cubicBezTo>
                  <a:cubicBezTo>
                    <a:pt x="733364" y="684782"/>
                    <a:pt x="773555" y="587080"/>
                    <a:pt x="866899" y="511071"/>
                  </a:cubicBezTo>
                  <a:cubicBezTo>
                    <a:pt x="942427" y="449563"/>
                    <a:pt x="1072827" y="385886"/>
                    <a:pt x="1185985" y="3858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283" name="Google Shape;283;p15"/>
          <p:cNvGrpSpPr/>
          <p:nvPr/>
        </p:nvGrpSpPr>
        <p:grpSpPr>
          <a:xfrm>
            <a:off x="-1120954" y="-1197134"/>
            <a:ext cx="13857223" cy="9789553"/>
            <a:chOff x="-840716" y="-897851"/>
            <a:chExt cx="10392917" cy="7342165"/>
          </a:xfrm>
        </p:grpSpPr>
        <p:sp>
          <p:nvSpPr>
            <p:cNvPr id="284" name="Google Shape;284;p15"/>
            <p:cNvSpPr/>
            <p:nvPr/>
          </p:nvSpPr>
          <p:spPr>
            <a:xfrm rot="10800000">
              <a:off x="-840716" y="3448554"/>
              <a:ext cx="1851180" cy="1928261"/>
            </a:xfrm>
            <a:custGeom>
              <a:avLst/>
              <a:gdLst/>
              <a:ahLst/>
              <a:cxnLst/>
              <a:rect l="l" t="t" r="r" b="b"/>
              <a:pathLst>
                <a:path w="1851180" h="1928261" extrusionOk="0">
                  <a:moveTo>
                    <a:pt x="222219" y="504927"/>
                  </a:moveTo>
                  <a:cubicBezTo>
                    <a:pt x="306870" y="574402"/>
                    <a:pt x="421317" y="585438"/>
                    <a:pt x="513461" y="619503"/>
                  </a:cubicBezTo>
                  <a:cubicBezTo>
                    <a:pt x="710295" y="692270"/>
                    <a:pt x="698441" y="786656"/>
                    <a:pt x="727559" y="1149243"/>
                  </a:cubicBezTo>
                  <a:cubicBezTo>
                    <a:pt x="768608" y="1660375"/>
                    <a:pt x="830482" y="2049043"/>
                    <a:pt x="1186048" y="1893619"/>
                  </a:cubicBezTo>
                  <a:cubicBezTo>
                    <a:pt x="1439650" y="1782763"/>
                    <a:pt x="1488895" y="1789872"/>
                    <a:pt x="1559382" y="1349460"/>
                  </a:cubicBezTo>
                  <a:cubicBezTo>
                    <a:pt x="1609598" y="1035713"/>
                    <a:pt x="1602978" y="742907"/>
                    <a:pt x="1689368" y="438788"/>
                  </a:cubicBezTo>
                  <a:cubicBezTo>
                    <a:pt x="1732120" y="288636"/>
                    <a:pt x="1786215" y="141951"/>
                    <a:pt x="1851185" y="0"/>
                  </a:cubicBezTo>
                  <a:lnTo>
                    <a:pt x="5" y="0"/>
                  </a:lnTo>
                  <a:cubicBezTo>
                    <a:pt x="41452" y="214402"/>
                    <a:pt x="100046" y="404660"/>
                    <a:pt x="222219" y="504927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5" name="Google Shape;285;p15"/>
            <p:cNvSpPr/>
            <p:nvPr/>
          </p:nvSpPr>
          <p:spPr>
            <a:xfrm rot="-5076197" flipH="1">
              <a:off x="7706325" y="-746686"/>
              <a:ext cx="1839031" cy="1687237"/>
            </a:xfrm>
            <a:custGeom>
              <a:avLst/>
              <a:gdLst/>
              <a:ahLst/>
              <a:cxnLst/>
              <a:rect l="l" t="t" r="r" b="b"/>
              <a:pathLst>
                <a:path w="1687446" h="1548164" extrusionOk="0">
                  <a:moveTo>
                    <a:pt x="1247031" y="634130"/>
                  </a:moveTo>
                  <a:cubicBezTo>
                    <a:pt x="1227364" y="527137"/>
                    <a:pt x="1277374" y="434846"/>
                    <a:pt x="1240738" y="325562"/>
                  </a:cubicBezTo>
                  <a:cubicBezTo>
                    <a:pt x="1143406" y="35220"/>
                    <a:pt x="767133" y="-94123"/>
                    <a:pt x="573695" y="76053"/>
                  </a:cubicBezTo>
                  <a:cubicBezTo>
                    <a:pt x="381743" y="244923"/>
                    <a:pt x="500205" y="465024"/>
                    <a:pt x="493422" y="693793"/>
                  </a:cubicBezTo>
                  <a:cubicBezTo>
                    <a:pt x="492299" y="750897"/>
                    <a:pt x="480941" y="807334"/>
                    <a:pt x="459888" y="860423"/>
                  </a:cubicBezTo>
                  <a:cubicBezTo>
                    <a:pt x="396447" y="1014854"/>
                    <a:pt x="162628" y="925558"/>
                    <a:pt x="215282" y="767120"/>
                  </a:cubicBezTo>
                  <a:cubicBezTo>
                    <a:pt x="276407" y="583189"/>
                    <a:pt x="338615" y="348217"/>
                    <a:pt x="232071" y="263066"/>
                  </a:cubicBezTo>
                  <a:cubicBezTo>
                    <a:pt x="232783" y="260311"/>
                    <a:pt x="233361" y="257482"/>
                    <a:pt x="233826" y="254593"/>
                  </a:cubicBezTo>
                  <a:cubicBezTo>
                    <a:pt x="242345" y="201613"/>
                    <a:pt x="213965" y="150229"/>
                    <a:pt x="174010" y="139542"/>
                  </a:cubicBezTo>
                  <a:cubicBezTo>
                    <a:pt x="115672" y="123939"/>
                    <a:pt x="57382" y="102718"/>
                    <a:pt x="5" y="81727"/>
                  </a:cubicBezTo>
                  <a:lnTo>
                    <a:pt x="5" y="1548165"/>
                  </a:lnTo>
                  <a:lnTo>
                    <a:pt x="1503631" y="1548165"/>
                  </a:lnTo>
                  <a:cubicBezTo>
                    <a:pt x="1506525" y="1521527"/>
                    <a:pt x="1510061" y="1496065"/>
                    <a:pt x="1514382" y="1472535"/>
                  </a:cubicBezTo>
                  <a:cubicBezTo>
                    <a:pt x="1540851" y="1328414"/>
                    <a:pt x="1674582" y="1240152"/>
                    <a:pt x="1686520" y="1106857"/>
                  </a:cubicBezTo>
                  <a:cubicBezTo>
                    <a:pt x="1709728" y="847741"/>
                    <a:pt x="1291541" y="876266"/>
                    <a:pt x="1247031" y="63413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286" name="Google Shape;286;p15"/>
            <p:cNvSpPr/>
            <p:nvPr/>
          </p:nvSpPr>
          <p:spPr>
            <a:xfrm rot="10800000">
              <a:off x="3544476" y="4736676"/>
              <a:ext cx="1702438" cy="1707638"/>
            </a:xfrm>
            <a:custGeom>
              <a:avLst/>
              <a:gdLst/>
              <a:ahLst/>
              <a:cxnLst/>
              <a:rect l="l" t="t" r="r" b="b"/>
              <a:pathLst>
                <a:path w="2414805" h="2422182" extrusionOk="0">
                  <a:moveTo>
                    <a:pt x="1352508" y="39350"/>
                  </a:moveTo>
                  <a:cubicBezTo>
                    <a:pt x="1571455" y="-29216"/>
                    <a:pt x="1828014" y="-13083"/>
                    <a:pt x="2010694" y="126738"/>
                  </a:cubicBezTo>
                  <a:cubicBezTo>
                    <a:pt x="2072483" y="173793"/>
                    <a:pt x="2126212" y="235637"/>
                    <a:pt x="2145017" y="310925"/>
                  </a:cubicBezTo>
                  <a:cubicBezTo>
                    <a:pt x="2181285" y="461501"/>
                    <a:pt x="2068453" y="609389"/>
                    <a:pt x="1939502" y="695432"/>
                  </a:cubicBezTo>
                  <a:cubicBezTo>
                    <a:pt x="1810551" y="781476"/>
                    <a:pt x="1657422" y="832565"/>
                    <a:pt x="1543247" y="936086"/>
                  </a:cubicBezTo>
                  <a:cubicBezTo>
                    <a:pt x="1508323" y="967008"/>
                    <a:pt x="1477429" y="1004652"/>
                    <a:pt x="1463996" y="1050363"/>
                  </a:cubicBezTo>
                  <a:cubicBezTo>
                    <a:pt x="1433102" y="1160606"/>
                    <a:pt x="1524442" y="1270849"/>
                    <a:pt x="1627871" y="1317904"/>
                  </a:cubicBezTo>
                  <a:cubicBezTo>
                    <a:pt x="1731301" y="1364960"/>
                    <a:pt x="1849505" y="1373026"/>
                    <a:pt x="1955621" y="1413359"/>
                  </a:cubicBezTo>
                  <a:cubicBezTo>
                    <a:pt x="2130242" y="1479236"/>
                    <a:pt x="2261879" y="1627124"/>
                    <a:pt x="2349189" y="1792489"/>
                  </a:cubicBezTo>
                  <a:cubicBezTo>
                    <a:pt x="2406948" y="1902732"/>
                    <a:pt x="2445902" y="2041209"/>
                    <a:pt x="2381427" y="2147419"/>
                  </a:cubicBezTo>
                  <a:cubicBezTo>
                    <a:pt x="2339787" y="2215985"/>
                    <a:pt x="2261879" y="2254973"/>
                    <a:pt x="2185314" y="2277829"/>
                  </a:cubicBezTo>
                  <a:cubicBezTo>
                    <a:pt x="1819954" y="2386728"/>
                    <a:pt x="1418326" y="2205229"/>
                    <a:pt x="1160425" y="1925588"/>
                  </a:cubicBezTo>
                  <a:cubicBezTo>
                    <a:pt x="1136247" y="1898699"/>
                    <a:pt x="1110725" y="1870466"/>
                    <a:pt x="1077144" y="1855677"/>
                  </a:cubicBezTo>
                  <a:cubicBezTo>
                    <a:pt x="1043563" y="1840889"/>
                    <a:pt x="999236" y="1844922"/>
                    <a:pt x="977745" y="1874499"/>
                  </a:cubicBezTo>
                  <a:cubicBezTo>
                    <a:pt x="968342" y="1889288"/>
                    <a:pt x="964312" y="1906766"/>
                    <a:pt x="961626" y="1922899"/>
                  </a:cubicBezTo>
                  <a:cubicBezTo>
                    <a:pt x="926702" y="2108430"/>
                    <a:pt x="854167" y="2312784"/>
                    <a:pt x="680889" y="2390761"/>
                  </a:cubicBezTo>
                  <a:cubicBezTo>
                    <a:pt x="561341" y="2444538"/>
                    <a:pt x="421645" y="2423027"/>
                    <a:pt x="300753" y="2373284"/>
                  </a:cubicBezTo>
                  <a:cubicBezTo>
                    <a:pt x="182548" y="2323540"/>
                    <a:pt x="69717" y="2241529"/>
                    <a:pt x="24047" y="2121875"/>
                  </a:cubicBezTo>
                  <a:cubicBezTo>
                    <a:pt x="-32369" y="1975332"/>
                    <a:pt x="21360" y="1812655"/>
                    <a:pt x="73746" y="1666112"/>
                  </a:cubicBezTo>
                  <a:cubicBezTo>
                    <a:pt x="178519" y="1375715"/>
                    <a:pt x="283291" y="1085318"/>
                    <a:pt x="389407" y="793576"/>
                  </a:cubicBezTo>
                  <a:cubicBezTo>
                    <a:pt x="427018" y="690055"/>
                    <a:pt x="475374" y="575778"/>
                    <a:pt x="565371" y="507212"/>
                  </a:cubicBezTo>
                  <a:cubicBezTo>
                    <a:pt x="625817" y="461501"/>
                    <a:pt x="702381" y="446713"/>
                    <a:pt x="765513" y="406380"/>
                  </a:cubicBezTo>
                  <a:cubicBezTo>
                    <a:pt x="965655" y="277314"/>
                    <a:pt x="1116098" y="111949"/>
                    <a:pt x="1352508" y="3935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287" name="Google Shape;287;p15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288" name="Google Shape;288;p15"/>
          <p:cNvSpPr txBox="1">
            <a:spLocks noGrp="1"/>
          </p:cNvSpPr>
          <p:nvPr>
            <p:ph type="subTitle" idx="1"/>
          </p:nvPr>
        </p:nvSpPr>
        <p:spPr>
          <a:xfrm>
            <a:off x="1683733" y="2799525"/>
            <a:ext cx="4139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15"/>
          <p:cNvSpPr txBox="1">
            <a:spLocks noGrp="1"/>
          </p:cNvSpPr>
          <p:nvPr>
            <p:ph type="subTitle" idx="2"/>
          </p:nvPr>
        </p:nvSpPr>
        <p:spPr>
          <a:xfrm>
            <a:off x="6368667" y="2799525"/>
            <a:ext cx="4139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0" name="Google Shape;290;p15"/>
          <p:cNvSpPr txBox="1">
            <a:spLocks noGrp="1"/>
          </p:cNvSpPr>
          <p:nvPr>
            <p:ph type="subTitle" idx="3"/>
          </p:nvPr>
        </p:nvSpPr>
        <p:spPr>
          <a:xfrm>
            <a:off x="1683733" y="5100187"/>
            <a:ext cx="4139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1" name="Google Shape;291;p15"/>
          <p:cNvSpPr txBox="1">
            <a:spLocks noGrp="1"/>
          </p:cNvSpPr>
          <p:nvPr>
            <p:ph type="subTitle" idx="4"/>
          </p:nvPr>
        </p:nvSpPr>
        <p:spPr>
          <a:xfrm>
            <a:off x="6368667" y="5100187"/>
            <a:ext cx="41396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92" name="Google Shape;292;p15"/>
          <p:cNvSpPr txBox="1">
            <a:spLocks noGrp="1"/>
          </p:cNvSpPr>
          <p:nvPr>
            <p:ph type="title" idx="5" hasCustomPrompt="1"/>
          </p:nvPr>
        </p:nvSpPr>
        <p:spPr>
          <a:xfrm>
            <a:off x="1683733" y="1717223"/>
            <a:ext cx="1154000" cy="596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293" name="Google Shape;293;p15"/>
          <p:cNvSpPr txBox="1">
            <a:spLocks noGrp="1"/>
          </p:cNvSpPr>
          <p:nvPr>
            <p:ph type="title" idx="6" hasCustomPrompt="1"/>
          </p:nvPr>
        </p:nvSpPr>
        <p:spPr>
          <a:xfrm>
            <a:off x="1683733" y="4017103"/>
            <a:ext cx="1154000" cy="596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294" name="Google Shape;294;p15"/>
          <p:cNvSpPr txBox="1">
            <a:spLocks noGrp="1"/>
          </p:cNvSpPr>
          <p:nvPr>
            <p:ph type="title" idx="7" hasCustomPrompt="1"/>
          </p:nvPr>
        </p:nvSpPr>
        <p:spPr>
          <a:xfrm>
            <a:off x="6368667" y="1717223"/>
            <a:ext cx="1154000" cy="596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295" name="Google Shape;295;p15"/>
          <p:cNvSpPr txBox="1">
            <a:spLocks noGrp="1"/>
          </p:cNvSpPr>
          <p:nvPr>
            <p:ph type="title" idx="8" hasCustomPrompt="1"/>
          </p:nvPr>
        </p:nvSpPr>
        <p:spPr>
          <a:xfrm>
            <a:off x="6368667" y="4017103"/>
            <a:ext cx="1154000" cy="596800"/>
          </a:xfrm>
          <a:prstGeom prst="rect">
            <a:avLst/>
          </a:prstGeom>
          <a:noFill/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/>
            </a:lvl9pPr>
          </a:lstStyle>
          <a:p>
            <a:r>
              <a:t>xx%</a:t>
            </a:r>
          </a:p>
        </p:txBody>
      </p:sp>
      <p:sp>
        <p:nvSpPr>
          <p:cNvPr id="296" name="Google Shape;296;p15"/>
          <p:cNvSpPr txBox="1">
            <a:spLocks noGrp="1"/>
          </p:cNvSpPr>
          <p:nvPr>
            <p:ph type="subTitle" idx="9"/>
          </p:nvPr>
        </p:nvSpPr>
        <p:spPr>
          <a:xfrm>
            <a:off x="1683733" y="2313867"/>
            <a:ext cx="4139600" cy="48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297" name="Google Shape;297;p15"/>
          <p:cNvSpPr txBox="1">
            <a:spLocks noGrp="1"/>
          </p:cNvSpPr>
          <p:nvPr>
            <p:ph type="subTitle" idx="13"/>
          </p:nvPr>
        </p:nvSpPr>
        <p:spPr>
          <a:xfrm>
            <a:off x="6368667" y="2313867"/>
            <a:ext cx="4139600" cy="48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298" name="Google Shape;298;p15"/>
          <p:cNvSpPr txBox="1">
            <a:spLocks noGrp="1"/>
          </p:cNvSpPr>
          <p:nvPr>
            <p:ph type="subTitle" idx="14"/>
          </p:nvPr>
        </p:nvSpPr>
        <p:spPr>
          <a:xfrm>
            <a:off x="1683733" y="4613897"/>
            <a:ext cx="4139600" cy="48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299" name="Google Shape;299;p15"/>
          <p:cNvSpPr txBox="1">
            <a:spLocks noGrp="1"/>
          </p:cNvSpPr>
          <p:nvPr>
            <p:ph type="subTitle" idx="15"/>
          </p:nvPr>
        </p:nvSpPr>
        <p:spPr>
          <a:xfrm>
            <a:off x="6368667" y="4613897"/>
            <a:ext cx="4139600" cy="488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six columns">
  <p:cSld name="CUSTOM_7">
    <p:spTree>
      <p:nvGrpSpPr>
        <p:cNvPr id="1" name="Shape 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1" name="Google Shape;301;p16"/>
          <p:cNvGrpSpPr/>
          <p:nvPr/>
        </p:nvGrpSpPr>
        <p:grpSpPr>
          <a:xfrm>
            <a:off x="-1905167" y="-1430626"/>
            <a:ext cx="15147904" cy="9135276"/>
            <a:chOff x="-1428875" y="-1072970"/>
            <a:chExt cx="11360928" cy="6851457"/>
          </a:xfrm>
        </p:grpSpPr>
        <p:sp>
          <p:nvSpPr>
            <p:cNvPr id="302" name="Google Shape;302;p16"/>
            <p:cNvSpPr/>
            <p:nvPr/>
          </p:nvSpPr>
          <p:spPr>
            <a:xfrm>
              <a:off x="7824028" y="3734333"/>
              <a:ext cx="2108025" cy="2044154"/>
            </a:xfrm>
            <a:custGeom>
              <a:avLst/>
              <a:gdLst/>
              <a:ahLst/>
              <a:cxnLst/>
              <a:rect l="l" t="t" r="r" b="b"/>
              <a:pathLst>
                <a:path w="1903409" h="1845737" extrusionOk="0">
                  <a:moveTo>
                    <a:pt x="1093751" y="1845737"/>
                  </a:moveTo>
                  <a:cubicBezTo>
                    <a:pt x="1091621" y="1845737"/>
                    <a:pt x="1089502" y="1845704"/>
                    <a:pt x="1087372" y="1845628"/>
                  </a:cubicBezTo>
                  <a:cubicBezTo>
                    <a:pt x="1015564" y="1843158"/>
                    <a:pt x="956360" y="1784738"/>
                    <a:pt x="904136" y="1733190"/>
                  </a:cubicBezTo>
                  <a:cubicBezTo>
                    <a:pt x="884306" y="1712576"/>
                    <a:pt x="863092" y="1693342"/>
                    <a:pt x="840641" y="1675622"/>
                  </a:cubicBezTo>
                  <a:cubicBezTo>
                    <a:pt x="784340" y="1632990"/>
                    <a:pt x="716602" y="1608139"/>
                    <a:pt x="646100" y="1604252"/>
                  </a:cubicBezTo>
                  <a:cubicBezTo>
                    <a:pt x="593304" y="1601687"/>
                    <a:pt x="540410" y="1601924"/>
                    <a:pt x="487639" y="1604963"/>
                  </a:cubicBezTo>
                  <a:cubicBezTo>
                    <a:pt x="313176" y="1611945"/>
                    <a:pt x="148379" y="1618524"/>
                    <a:pt x="51425" y="1406062"/>
                  </a:cubicBezTo>
                  <a:cubicBezTo>
                    <a:pt x="-35173" y="1216322"/>
                    <a:pt x="-11820" y="1047157"/>
                    <a:pt x="117171" y="929736"/>
                  </a:cubicBezTo>
                  <a:cubicBezTo>
                    <a:pt x="190475" y="863010"/>
                    <a:pt x="255959" y="836128"/>
                    <a:pt x="355917" y="908263"/>
                  </a:cubicBezTo>
                  <a:cubicBezTo>
                    <a:pt x="396071" y="937255"/>
                    <a:pt x="421292" y="979087"/>
                    <a:pt x="445694" y="1019542"/>
                  </a:cubicBezTo>
                  <a:cubicBezTo>
                    <a:pt x="471319" y="1062019"/>
                    <a:pt x="495514" y="1102147"/>
                    <a:pt x="534029" y="1121565"/>
                  </a:cubicBezTo>
                  <a:cubicBezTo>
                    <a:pt x="592216" y="1150928"/>
                    <a:pt x="661076" y="1155551"/>
                    <a:pt x="713748" y="1133576"/>
                  </a:cubicBezTo>
                  <a:cubicBezTo>
                    <a:pt x="749381" y="1119598"/>
                    <a:pt x="776832" y="1090316"/>
                    <a:pt x="788494" y="1053846"/>
                  </a:cubicBezTo>
                  <a:cubicBezTo>
                    <a:pt x="824846" y="941910"/>
                    <a:pt x="848702" y="895608"/>
                    <a:pt x="955934" y="853208"/>
                  </a:cubicBezTo>
                  <a:lnTo>
                    <a:pt x="960991" y="851209"/>
                  </a:lnTo>
                  <a:cubicBezTo>
                    <a:pt x="1004902" y="833910"/>
                    <a:pt x="1015333" y="829801"/>
                    <a:pt x="1032493" y="783641"/>
                  </a:cubicBezTo>
                  <a:cubicBezTo>
                    <a:pt x="1045088" y="749775"/>
                    <a:pt x="1053968" y="681694"/>
                    <a:pt x="1038666" y="656232"/>
                  </a:cubicBezTo>
                  <a:cubicBezTo>
                    <a:pt x="1022280" y="628967"/>
                    <a:pt x="984050" y="618684"/>
                    <a:pt x="943568" y="607800"/>
                  </a:cubicBezTo>
                  <a:cubicBezTo>
                    <a:pt x="893739" y="594392"/>
                    <a:pt x="837254" y="579201"/>
                    <a:pt x="818226" y="525437"/>
                  </a:cubicBezTo>
                  <a:cubicBezTo>
                    <a:pt x="799471" y="472435"/>
                    <a:pt x="815157" y="394760"/>
                    <a:pt x="864856" y="294562"/>
                  </a:cubicBezTo>
                  <a:cubicBezTo>
                    <a:pt x="900541" y="224371"/>
                    <a:pt x="942574" y="157596"/>
                    <a:pt x="990429" y="95073"/>
                  </a:cubicBezTo>
                  <a:cubicBezTo>
                    <a:pt x="1036284" y="35679"/>
                    <a:pt x="1087754" y="3791"/>
                    <a:pt x="1143385" y="305"/>
                  </a:cubicBezTo>
                  <a:cubicBezTo>
                    <a:pt x="1200491" y="-3169"/>
                    <a:pt x="1256985" y="23036"/>
                    <a:pt x="1312005" y="78386"/>
                  </a:cubicBezTo>
                  <a:cubicBezTo>
                    <a:pt x="1334019" y="103583"/>
                    <a:pt x="1353576" y="130826"/>
                    <a:pt x="1370411" y="159744"/>
                  </a:cubicBezTo>
                  <a:cubicBezTo>
                    <a:pt x="1415162" y="230108"/>
                    <a:pt x="1470980" y="317762"/>
                    <a:pt x="1532859" y="304397"/>
                  </a:cubicBezTo>
                  <a:cubicBezTo>
                    <a:pt x="1555404" y="299567"/>
                    <a:pt x="1579009" y="278312"/>
                    <a:pt x="1604001" y="255822"/>
                  </a:cubicBezTo>
                  <a:cubicBezTo>
                    <a:pt x="1632751" y="229945"/>
                    <a:pt x="1662484" y="203182"/>
                    <a:pt x="1698486" y="193173"/>
                  </a:cubicBezTo>
                  <a:cubicBezTo>
                    <a:pt x="1757919" y="176649"/>
                    <a:pt x="1801600" y="174573"/>
                    <a:pt x="1849017" y="212886"/>
                  </a:cubicBezTo>
                  <a:cubicBezTo>
                    <a:pt x="1956468" y="299643"/>
                    <a:pt x="1880105" y="427259"/>
                    <a:pt x="1829574" y="511700"/>
                  </a:cubicBezTo>
                  <a:cubicBezTo>
                    <a:pt x="1825488" y="518530"/>
                    <a:pt x="1821502" y="525174"/>
                    <a:pt x="1817734" y="531610"/>
                  </a:cubicBezTo>
                  <a:cubicBezTo>
                    <a:pt x="1792402" y="582320"/>
                    <a:pt x="1762094" y="630384"/>
                    <a:pt x="1727258" y="675094"/>
                  </a:cubicBezTo>
                  <a:cubicBezTo>
                    <a:pt x="1668590" y="755545"/>
                    <a:pt x="1613166" y="831527"/>
                    <a:pt x="1604078" y="951593"/>
                  </a:cubicBezTo>
                  <a:cubicBezTo>
                    <a:pt x="1601576" y="984584"/>
                    <a:pt x="1599905" y="1017225"/>
                    <a:pt x="1598288" y="1048807"/>
                  </a:cubicBezTo>
                  <a:cubicBezTo>
                    <a:pt x="1591440" y="1182554"/>
                    <a:pt x="1584973" y="1308881"/>
                    <a:pt x="1518265" y="1440617"/>
                  </a:cubicBezTo>
                  <a:cubicBezTo>
                    <a:pt x="1471695" y="1531885"/>
                    <a:pt x="1414362" y="1617243"/>
                    <a:pt x="1347494" y="1694866"/>
                  </a:cubicBezTo>
                  <a:cubicBezTo>
                    <a:pt x="1258449" y="1795010"/>
                    <a:pt x="1173118" y="1845737"/>
                    <a:pt x="1093751" y="1845737"/>
                  </a:cubicBezTo>
                  <a:close/>
                  <a:moveTo>
                    <a:pt x="584526" y="1568813"/>
                  </a:moveTo>
                  <a:cubicBezTo>
                    <a:pt x="605641" y="1568813"/>
                    <a:pt x="626920" y="1569347"/>
                    <a:pt x="648296" y="1570746"/>
                  </a:cubicBezTo>
                  <a:cubicBezTo>
                    <a:pt x="725196" y="1574976"/>
                    <a:pt x="799084" y="1602072"/>
                    <a:pt x="860499" y="1648564"/>
                  </a:cubicBezTo>
                  <a:cubicBezTo>
                    <a:pt x="884284" y="1667217"/>
                    <a:pt x="906738" y="1687509"/>
                    <a:pt x="927698" y="1709291"/>
                  </a:cubicBezTo>
                  <a:cubicBezTo>
                    <a:pt x="977889" y="1758828"/>
                    <a:pt x="1029796" y="1810058"/>
                    <a:pt x="1088529" y="1812078"/>
                  </a:cubicBezTo>
                  <a:cubicBezTo>
                    <a:pt x="1090255" y="1812133"/>
                    <a:pt x="1091992" y="1812167"/>
                    <a:pt x="1093728" y="1812167"/>
                  </a:cubicBezTo>
                  <a:cubicBezTo>
                    <a:pt x="1250518" y="1812177"/>
                    <a:pt x="1415152" y="1570026"/>
                    <a:pt x="1488336" y="1425449"/>
                  </a:cubicBezTo>
                  <a:cubicBezTo>
                    <a:pt x="1551821" y="1300051"/>
                    <a:pt x="1558113" y="1177177"/>
                    <a:pt x="1564776" y="1047081"/>
                  </a:cubicBezTo>
                  <a:cubicBezTo>
                    <a:pt x="1566403" y="1015313"/>
                    <a:pt x="1568086" y="982453"/>
                    <a:pt x="1570610" y="949057"/>
                  </a:cubicBezTo>
                  <a:cubicBezTo>
                    <a:pt x="1580429" y="819452"/>
                    <a:pt x="1641292" y="736006"/>
                    <a:pt x="1700157" y="655303"/>
                  </a:cubicBezTo>
                  <a:cubicBezTo>
                    <a:pt x="1733824" y="612140"/>
                    <a:pt x="1763122" y="565738"/>
                    <a:pt x="1787619" y="516781"/>
                  </a:cubicBezTo>
                  <a:lnTo>
                    <a:pt x="1788372" y="515327"/>
                  </a:lnTo>
                  <a:cubicBezTo>
                    <a:pt x="1792316" y="508596"/>
                    <a:pt x="1796488" y="501624"/>
                    <a:pt x="1800780" y="494455"/>
                  </a:cubicBezTo>
                  <a:cubicBezTo>
                    <a:pt x="1862015" y="392137"/>
                    <a:pt x="1906320" y="302287"/>
                    <a:pt x="1827937" y="239004"/>
                  </a:cubicBezTo>
                  <a:cubicBezTo>
                    <a:pt x="1791115" y="209280"/>
                    <a:pt x="1759764" y="210985"/>
                    <a:pt x="1707465" y="225519"/>
                  </a:cubicBezTo>
                  <a:cubicBezTo>
                    <a:pt x="1679065" y="233409"/>
                    <a:pt x="1652314" y="257494"/>
                    <a:pt x="1626448" y="280782"/>
                  </a:cubicBezTo>
                  <a:cubicBezTo>
                    <a:pt x="1598026" y="306353"/>
                    <a:pt x="1571188" y="330515"/>
                    <a:pt x="1539894" y="337224"/>
                  </a:cubicBezTo>
                  <a:cubicBezTo>
                    <a:pt x="1455043" y="355376"/>
                    <a:pt x="1392443" y="256904"/>
                    <a:pt x="1342098" y="177764"/>
                  </a:cubicBezTo>
                  <a:cubicBezTo>
                    <a:pt x="1326471" y="150944"/>
                    <a:pt x="1308436" y="125603"/>
                    <a:pt x="1288214" y="102056"/>
                  </a:cubicBezTo>
                  <a:cubicBezTo>
                    <a:pt x="1240295" y="53841"/>
                    <a:pt x="1192397" y="30881"/>
                    <a:pt x="1145483" y="33811"/>
                  </a:cubicBezTo>
                  <a:cubicBezTo>
                    <a:pt x="1099911" y="36662"/>
                    <a:pt x="1056677" y="64179"/>
                    <a:pt x="1016994" y="115596"/>
                  </a:cubicBezTo>
                  <a:cubicBezTo>
                    <a:pt x="943896" y="210286"/>
                    <a:pt x="814894" y="415457"/>
                    <a:pt x="849860" y="514224"/>
                  </a:cubicBezTo>
                  <a:cubicBezTo>
                    <a:pt x="863000" y="551368"/>
                    <a:pt x="906366" y="563028"/>
                    <a:pt x="952275" y="575376"/>
                  </a:cubicBezTo>
                  <a:cubicBezTo>
                    <a:pt x="997409" y="587506"/>
                    <a:pt x="1044072" y="600063"/>
                    <a:pt x="1067426" y="638933"/>
                  </a:cubicBezTo>
                  <a:cubicBezTo>
                    <a:pt x="1091293" y="678656"/>
                    <a:pt x="1076940" y="760397"/>
                    <a:pt x="1063952" y="795345"/>
                  </a:cubicBezTo>
                  <a:cubicBezTo>
                    <a:pt x="1041571" y="855547"/>
                    <a:pt x="1020173" y="863972"/>
                    <a:pt x="973280" y="882451"/>
                  </a:cubicBezTo>
                  <a:lnTo>
                    <a:pt x="968265" y="884429"/>
                  </a:lnTo>
                  <a:cubicBezTo>
                    <a:pt x="870592" y="923060"/>
                    <a:pt x="854000" y="960793"/>
                    <a:pt x="820411" y="1064226"/>
                  </a:cubicBezTo>
                  <a:cubicBezTo>
                    <a:pt x="805825" y="1110075"/>
                    <a:pt x="771392" y="1146924"/>
                    <a:pt x="726647" y="1164567"/>
                  </a:cubicBezTo>
                  <a:cubicBezTo>
                    <a:pt x="665216" y="1190171"/>
                    <a:pt x="585619" y="1185177"/>
                    <a:pt x="518912" y="1151551"/>
                  </a:cubicBezTo>
                  <a:cubicBezTo>
                    <a:pt x="471778" y="1127761"/>
                    <a:pt x="443913" y="1081569"/>
                    <a:pt x="416967" y="1036884"/>
                  </a:cubicBezTo>
                  <a:cubicBezTo>
                    <a:pt x="394301" y="999314"/>
                    <a:pt x="370872" y="960465"/>
                    <a:pt x="336277" y="935496"/>
                  </a:cubicBezTo>
                  <a:cubicBezTo>
                    <a:pt x="262153" y="881971"/>
                    <a:pt x="214386" y="886626"/>
                    <a:pt x="139761" y="954565"/>
                  </a:cubicBezTo>
                  <a:cubicBezTo>
                    <a:pt x="56766" y="1030110"/>
                    <a:pt x="-20635" y="1167342"/>
                    <a:pt x="81944" y="1392118"/>
                  </a:cubicBezTo>
                  <a:cubicBezTo>
                    <a:pt x="169558" y="1584100"/>
                    <a:pt x="316344" y="1578233"/>
                    <a:pt x="486306" y="1571413"/>
                  </a:cubicBezTo>
                  <a:cubicBezTo>
                    <a:pt x="518464" y="1570124"/>
                    <a:pt x="551299" y="1568813"/>
                    <a:pt x="584526" y="156881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3" name="Google Shape;303;p16"/>
            <p:cNvSpPr/>
            <p:nvPr/>
          </p:nvSpPr>
          <p:spPr>
            <a:xfrm rot="4634833">
              <a:off x="-1950989" y="-110110"/>
              <a:ext cx="3094168" cy="1401492"/>
            </a:xfrm>
            <a:custGeom>
              <a:avLst/>
              <a:gdLst/>
              <a:ahLst/>
              <a:cxnLst/>
              <a:rect l="l" t="t" r="r" b="b"/>
              <a:pathLst>
                <a:path w="2787843" h="1262743" extrusionOk="0">
                  <a:moveTo>
                    <a:pt x="853688" y="1262743"/>
                  </a:moveTo>
                  <a:cubicBezTo>
                    <a:pt x="805713" y="1262749"/>
                    <a:pt x="763571" y="1255094"/>
                    <a:pt x="734812" y="1235593"/>
                  </a:cubicBezTo>
                  <a:cubicBezTo>
                    <a:pt x="704631" y="1215130"/>
                    <a:pt x="691081" y="1182904"/>
                    <a:pt x="695614" y="1142394"/>
                  </a:cubicBezTo>
                  <a:cubicBezTo>
                    <a:pt x="712074" y="995380"/>
                    <a:pt x="870979" y="933950"/>
                    <a:pt x="1024650" y="874545"/>
                  </a:cubicBezTo>
                  <a:cubicBezTo>
                    <a:pt x="1154373" y="824397"/>
                    <a:pt x="1288509" y="772538"/>
                    <a:pt x="1335194" y="671449"/>
                  </a:cubicBezTo>
                  <a:cubicBezTo>
                    <a:pt x="1371169" y="593550"/>
                    <a:pt x="1355369" y="481539"/>
                    <a:pt x="1274505" y="438947"/>
                  </a:cubicBezTo>
                  <a:cubicBezTo>
                    <a:pt x="1164378" y="380953"/>
                    <a:pt x="978811" y="463229"/>
                    <a:pt x="888079" y="537107"/>
                  </a:cubicBezTo>
                  <a:cubicBezTo>
                    <a:pt x="801344" y="607734"/>
                    <a:pt x="764516" y="697261"/>
                    <a:pt x="725527" y="792045"/>
                  </a:cubicBezTo>
                  <a:cubicBezTo>
                    <a:pt x="696630" y="862289"/>
                    <a:pt x="666750" y="934922"/>
                    <a:pt x="614903" y="999490"/>
                  </a:cubicBezTo>
                  <a:cubicBezTo>
                    <a:pt x="520703" y="1116806"/>
                    <a:pt x="352645" y="1137307"/>
                    <a:pt x="153839" y="1055746"/>
                  </a:cubicBezTo>
                  <a:cubicBezTo>
                    <a:pt x="37054" y="1007833"/>
                    <a:pt x="6235" y="932648"/>
                    <a:pt x="943" y="878014"/>
                  </a:cubicBezTo>
                  <a:cubicBezTo>
                    <a:pt x="-12122" y="743082"/>
                    <a:pt x="113456" y="582425"/>
                    <a:pt x="239187" y="498488"/>
                  </a:cubicBezTo>
                  <a:cubicBezTo>
                    <a:pt x="256095" y="474047"/>
                    <a:pt x="270416" y="448482"/>
                    <a:pt x="285544" y="421462"/>
                  </a:cubicBezTo>
                  <a:cubicBezTo>
                    <a:pt x="333704" y="335464"/>
                    <a:pt x="383502" y="246545"/>
                    <a:pt x="522980" y="179726"/>
                  </a:cubicBezTo>
                  <a:cubicBezTo>
                    <a:pt x="745899" y="72927"/>
                    <a:pt x="1022837" y="55415"/>
                    <a:pt x="1267171" y="39963"/>
                  </a:cubicBezTo>
                  <a:cubicBezTo>
                    <a:pt x="1299197" y="37936"/>
                    <a:pt x="1330802" y="35937"/>
                    <a:pt x="1361814" y="33772"/>
                  </a:cubicBezTo>
                  <a:cubicBezTo>
                    <a:pt x="1396669" y="31346"/>
                    <a:pt x="1431736" y="28835"/>
                    <a:pt x="1467014" y="26238"/>
                  </a:cubicBezTo>
                  <a:cubicBezTo>
                    <a:pt x="1704237" y="9004"/>
                    <a:pt x="1949503" y="-8830"/>
                    <a:pt x="2185120" y="4857"/>
                  </a:cubicBezTo>
                  <a:lnTo>
                    <a:pt x="2190194" y="5152"/>
                  </a:lnTo>
                  <a:cubicBezTo>
                    <a:pt x="2347618" y="14282"/>
                    <a:pt x="2543540" y="25642"/>
                    <a:pt x="2672170" y="137265"/>
                  </a:cubicBezTo>
                  <a:cubicBezTo>
                    <a:pt x="2885117" y="322062"/>
                    <a:pt x="2759576" y="513984"/>
                    <a:pt x="2648817" y="683306"/>
                  </a:cubicBezTo>
                  <a:cubicBezTo>
                    <a:pt x="2635053" y="704348"/>
                    <a:pt x="2620821" y="726111"/>
                    <a:pt x="2607637" y="747229"/>
                  </a:cubicBezTo>
                  <a:cubicBezTo>
                    <a:pt x="2592634" y="771266"/>
                    <a:pt x="2578286" y="796011"/>
                    <a:pt x="2564408" y="819944"/>
                  </a:cubicBezTo>
                  <a:cubicBezTo>
                    <a:pt x="2488023" y="951702"/>
                    <a:pt x="2415368" y="1076968"/>
                    <a:pt x="2243853" y="1076985"/>
                  </a:cubicBezTo>
                  <a:cubicBezTo>
                    <a:pt x="2220253" y="1076865"/>
                    <a:pt x="2196705" y="1074752"/>
                    <a:pt x="2173460" y="1070668"/>
                  </a:cubicBezTo>
                  <a:cubicBezTo>
                    <a:pt x="2087762" y="1056079"/>
                    <a:pt x="2066560" y="1044868"/>
                    <a:pt x="2055087" y="968055"/>
                  </a:cubicBezTo>
                  <a:cubicBezTo>
                    <a:pt x="2044895" y="899870"/>
                    <a:pt x="2082444" y="840422"/>
                    <a:pt x="2118757" y="782930"/>
                  </a:cubicBezTo>
                  <a:cubicBezTo>
                    <a:pt x="2156540" y="723106"/>
                    <a:pt x="2192231" y="666602"/>
                    <a:pt x="2181171" y="599833"/>
                  </a:cubicBezTo>
                  <a:cubicBezTo>
                    <a:pt x="2176153" y="569520"/>
                    <a:pt x="2165650" y="549439"/>
                    <a:pt x="2149069" y="538434"/>
                  </a:cubicBezTo>
                  <a:cubicBezTo>
                    <a:pt x="2117157" y="517278"/>
                    <a:pt x="2060602" y="528518"/>
                    <a:pt x="1995446" y="544166"/>
                  </a:cubicBezTo>
                  <a:cubicBezTo>
                    <a:pt x="1819234" y="586495"/>
                    <a:pt x="1662718" y="690065"/>
                    <a:pt x="1542826" y="843690"/>
                  </a:cubicBezTo>
                  <a:cubicBezTo>
                    <a:pt x="1525731" y="865600"/>
                    <a:pt x="1509188" y="887954"/>
                    <a:pt x="1491673" y="911623"/>
                  </a:cubicBezTo>
                  <a:cubicBezTo>
                    <a:pt x="1418744" y="1010172"/>
                    <a:pt x="1343332" y="1112074"/>
                    <a:pt x="1233560" y="1170807"/>
                  </a:cubicBezTo>
                  <a:cubicBezTo>
                    <a:pt x="1184553" y="1197028"/>
                    <a:pt x="994202" y="1262738"/>
                    <a:pt x="853688" y="1262743"/>
                  </a:cubicBezTo>
                  <a:close/>
                  <a:moveTo>
                    <a:pt x="1185985" y="385886"/>
                  </a:moveTo>
                  <a:cubicBezTo>
                    <a:pt x="1222085" y="385077"/>
                    <a:pt x="1257836" y="393095"/>
                    <a:pt x="1290136" y="409245"/>
                  </a:cubicBezTo>
                  <a:cubicBezTo>
                    <a:pt x="1368706" y="450628"/>
                    <a:pt x="1419924" y="568023"/>
                    <a:pt x="1365659" y="685525"/>
                  </a:cubicBezTo>
                  <a:cubicBezTo>
                    <a:pt x="1313276" y="798957"/>
                    <a:pt x="1172697" y="853301"/>
                    <a:pt x="1036748" y="905859"/>
                  </a:cubicBezTo>
                  <a:cubicBezTo>
                    <a:pt x="885764" y="964225"/>
                    <a:pt x="743156" y="1019351"/>
                    <a:pt x="728962" y="1146131"/>
                  </a:cubicBezTo>
                  <a:cubicBezTo>
                    <a:pt x="725772" y="1174626"/>
                    <a:pt x="733609" y="1194225"/>
                    <a:pt x="753638" y="1207803"/>
                  </a:cubicBezTo>
                  <a:cubicBezTo>
                    <a:pt x="847182" y="1271223"/>
                    <a:pt x="1152675" y="1176014"/>
                    <a:pt x="1217733" y="1141203"/>
                  </a:cubicBezTo>
                  <a:cubicBezTo>
                    <a:pt x="1320852" y="1086033"/>
                    <a:pt x="1393982" y="987212"/>
                    <a:pt x="1464703" y="891647"/>
                  </a:cubicBezTo>
                  <a:cubicBezTo>
                    <a:pt x="1481568" y="868852"/>
                    <a:pt x="1499013" y="845280"/>
                    <a:pt x="1516381" y="823030"/>
                  </a:cubicBezTo>
                  <a:cubicBezTo>
                    <a:pt x="1640992" y="663357"/>
                    <a:pt x="1803942" y="555640"/>
                    <a:pt x="1987614" y="511524"/>
                  </a:cubicBezTo>
                  <a:cubicBezTo>
                    <a:pt x="2063158" y="493384"/>
                    <a:pt x="2124398" y="481795"/>
                    <a:pt x="2167610" y="510459"/>
                  </a:cubicBezTo>
                  <a:cubicBezTo>
                    <a:pt x="2192385" y="526890"/>
                    <a:pt x="2207649" y="554329"/>
                    <a:pt x="2214280" y="594347"/>
                  </a:cubicBezTo>
                  <a:cubicBezTo>
                    <a:pt x="2227426" y="673728"/>
                    <a:pt x="2186601" y="738361"/>
                    <a:pt x="2147125" y="800864"/>
                  </a:cubicBezTo>
                  <a:cubicBezTo>
                    <a:pt x="2112569" y="855574"/>
                    <a:pt x="2079926" y="907252"/>
                    <a:pt x="2088271" y="963093"/>
                  </a:cubicBezTo>
                  <a:cubicBezTo>
                    <a:pt x="2096812" y="1020257"/>
                    <a:pt x="2101903" y="1024438"/>
                    <a:pt x="2179085" y="1037579"/>
                  </a:cubicBezTo>
                  <a:cubicBezTo>
                    <a:pt x="2379645" y="1071680"/>
                    <a:pt x="2451819" y="947232"/>
                    <a:pt x="2535380" y="803104"/>
                  </a:cubicBezTo>
                  <a:cubicBezTo>
                    <a:pt x="2549394" y="778936"/>
                    <a:pt x="2563879" y="753944"/>
                    <a:pt x="2579171" y="729450"/>
                  </a:cubicBezTo>
                  <a:cubicBezTo>
                    <a:pt x="2592546" y="708025"/>
                    <a:pt x="2606878" y="686115"/>
                    <a:pt x="2620739" y="664925"/>
                  </a:cubicBezTo>
                  <a:cubicBezTo>
                    <a:pt x="2734006" y="491767"/>
                    <a:pt x="2840993" y="328214"/>
                    <a:pt x="2650183" y="162629"/>
                  </a:cubicBezTo>
                  <a:cubicBezTo>
                    <a:pt x="2530186" y="58497"/>
                    <a:pt x="2348524" y="47963"/>
                    <a:pt x="2188249" y="38668"/>
                  </a:cubicBezTo>
                  <a:lnTo>
                    <a:pt x="2183176" y="38373"/>
                  </a:lnTo>
                  <a:cubicBezTo>
                    <a:pt x="1949782" y="24834"/>
                    <a:pt x="1705597" y="42575"/>
                    <a:pt x="1469445" y="59716"/>
                  </a:cubicBezTo>
                  <a:cubicBezTo>
                    <a:pt x="1434152" y="62283"/>
                    <a:pt x="1399054" y="64800"/>
                    <a:pt x="1364151" y="67267"/>
                  </a:cubicBezTo>
                  <a:cubicBezTo>
                    <a:pt x="1333070" y="69430"/>
                    <a:pt x="1301392" y="71435"/>
                    <a:pt x="1269283" y="73463"/>
                  </a:cubicBezTo>
                  <a:cubicBezTo>
                    <a:pt x="1027999" y="88723"/>
                    <a:pt x="754517" y="106016"/>
                    <a:pt x="537475" y="210007"/>
                  </a:cubicBezTo>
                  <a:cubicBezTo>
                    <a:pt x="407583" y="272231"/>
                    <a:pt x="360428" y="356436"/>
                    <a:pt x="314818" y="437870"/>
                  </a:cubicBezTo>
                  <a:cubicBezTo>
                    <a:pt x="299570" y="466194"/>
                    <a:pt x="282892" y="493725"/>
                    <a:pt x="264850" y="520355"/>
                  </a:cubicBezTo>
                  <a:lnTo>
                    <a:pt x="263016" y="522972"/>
                  </a:lnTo>
                  <a:lnTo>
                    <a:pt x="260350" y="524731"/>
                  </a:lnTo>
                  <a:cubicBezTo>
                    <a:pt x="141911" y="602757"/>
                    <a:pt x="22451" y="751961"/>
                    <a:pt x="34345" y="874780"/>
                  </a:cubicBezTo>
                  <a:cubicBezTo>
                    <a:pt x="40747" y="940883"/>
                    <a:pt x="85230" y="991315"/>
                    <a:pt x="166575" y="1024689"/>
                  </a:cubicBezTo>
                  <a:cubicBezTo>
                    <a:pt x="253655" y="1060397"/>
                    <a:pt x="469123" y="1127423"/>
                    <a:pt x="588742" y="978464"/>
                  </a:cubicBezTo>
                  <a:cubicBezTo>
                    <a:pt x="637557" y="917672"/>
                    <a:pt x="666504" y="847313"/>
                    <a:pt x="694495" y="779270"/>
                  </a:cubicBezTo>
                  <a:cubicBezTo>
                    <a:pt x="733364" y="684782"/>
                    <a:pt x="773555" y="587080"/>
                    <a:pt x="866899" y="511071"/>
                  </a:cubicBezTo>
                  <a:cubicBezTo>
                    <a:pt x="942427" y="449563"/>
                    <a:pt x="1072827" y="385886"/>
                    <a:pt x="1185985" y="3858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04" name="Google Shape;304;p16"/>
          <p:cNvGrpSpPr/>
          <p:nvPr/>
        </p:nvGrpSpPr>
        <p:grpSpPr>
          <a:xfrm>
            <a:off x="-1120954" y="-1197134"/>
            <a:ext cx="13857223" cy="9789553"/>
            <a:chOff x="-840716" y="-897851"/>
            <a:chExt cx="10392917" cy="7342165"/>
          </a:xfrm>
        </p:grpSpPr>
        <p:sp>
          <p:nvSpPr>
            <p:cNvPr id="305" name="Google Shape;305;p16"/>
            <p:cNvSpPr/>
            <p:nvPr/>
          </p:nvSpPr>
          <p:spPr>
            <a:xfrm rot="10800000">
              <a:off x="-840716" y="3448554"/>
              <a:ext cx="1851180" cy="1928261"/>
            </a:xfrm>
            <a:custGeom>
              <a:avLst/>
              <a:gdLst/>
              <a:ahLst/>
              <a:cxnLst/>
              <a:rect l="l" t="t" r="r" b="b"/>
              <a:pathLst>
                <a:path w="1851180" h="1928261" extrusionOk="0">
                  <a:moveTo>
                    <a:pt x="222219" y="504927"/>
                  </a:moveTo>
                  <a:cubicBezTo>
                    <a:pt x="306870" y="574402"/>
                    <a:pt x="421317" y="585438"/>
                    <a:pt x="513461" y="619503"/>
                  </a:cubicBezTo>
                  <a:cubicBezTo>
                    <a:pt x="710295" y="692270"/>
                    <a:pt x="698441" y="786656"/>
                    <a:pt x="727559" y="1149243"/>
                  </a:cubicBezTo>
                  <a:cubicBezTo>
                    <a:pt x="768608" y="1660375"/>
                    <a:pt x="830482" y="2049043"/>
                    <a:pt x="1186048" y="1893619"/>
                  </a:cubicBezTo>
                  <a:cubicBezTo>
                    <a:pt x="1439650" y="1782763"/>
                    <a:pt x="1488895" y="1789872"/>
                    <a:pt x="1559382" y="1349460"/>
                  </a:cubicBezTo>
                  <a:cubicBezTo>
                    <a:pt x="1609598" y="1035713"/>
                    <a:pt x="1602978" y="742907"/>
                    <a:pt x="1689368" y="438788"/>
                  </a:cubicBezTo>
                  <a:cubicBezTo>
                    <a:pt x="1732120" y="288636"/>
                    <a:pt x="1786215" y="141951"/>
                    <a:pt x="1851185" y="0"/>
                  </a:cubicBezTo>
                  <a:lnTo>
                    <a:pt x="5" y="0"/>
                  </a:lnTo>
                  <a:cubicBezTo>
                    <a:pt x="41452" y="214402"/>
                    <a:pt x="100046" y="404660"/>
                    <a:pt x="222219" y="504927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6" name="Google Shape;306;p16"/>
            <p:cNvSpPr/>
            <p:nvPr/>
          </p:nvSpPr>
          <p:spPr>
            <a:xfrm rot="-5076197" flipH="1">
              <a:off x="7706325" y="-746686"/>
              <a:ext cx="1839031" cy="1687237"/>
            </a:xfrm>
            <a:custGeom>
              <a:avLst/>
              <a:gdLst/>
              <a:ahLst/>
              <a:cxnLst/>
              <a:rect l="l" t="t" r="r" b="b"/>
              <a:pathLst>
                <a:path w="1687446" h="1548164" extrusionOk="0">
                  <a:moveTo>
                    <a:pt x="1247031" y="634130"/>
                  </a:moveTo>
                  <a:cubicBezTo>
                    <a:pt x="1227364" y="527137"/>
                    <a:pt x="1277374" y="434846"/>
                    <a:pt x="1240738" y="325562"/>
                  </a:cubicBezTo>
                  <a:cubicBezTo>
                    <a:pt x="1143406" y="35220"/>
                    <a:pt x="767133" y="-94123"/>
                    <a:pt x="573695" y="76053"/>
                  </a:cubicBezTo>
                  <a:cubicBezTo>
                    <a:pt x="381743" y="244923"/>
                    <a:pt x="500205" y="465024"/>
                    <a:pt x="493422" y="693793"/>
                  </a:cubicBezTo>
                  <a:cubicBezTo>
                    <a:pt x="492299" y="750897"/>
                    <a:pt x="480941" y="807334"/>
                    <a:pt x="459888" y="860423"/>
                  </a:cubicBezTo>
                  <a:cubicBezTo>
                    <a:pt x="396447" y="1014854"/>
                    <a:pt x="162628" y="925558"/>
                    <a:pt x="215282" y="767120"/>
                  </a:cubicBezTo>
                  <a:cubicBezTo>
                    <a:pt x="276407" y="583189"/>
                    <a:pt x="338615" y="348217"/>
                    <a:pt x="232071" y="263066"/>
                  </a:cubicBezTo>
                  <a:cubicBezTo>
                    <a:pt x="232783" y="260311"/>
                    <a:pt x="233361" y="257482"/>
                    <a:pt x="233826" y="254593"/>
                  </a:cubicBezTo>
                  <a:cubicBezTo>
                    <a:pt x="242345" y="201613"/>
                    <a:pt x="213965" y="150229"/>
                    <a:pt x="174010" y="139542"/>
                  </a:cubicBezTo>
                  <a:cubicBezTo>
                    <a:pt x="115672" y="123939"/>
                    <a:pt x="57382" y="102718"/>
                    <a:pt x="5" y="81727"/>
                  </a:cubicBezTo>
                  <a:lnTo>
                    <a:pt x="5" y="1548165"/>
                  </a:lnTo>
                  <a:lnTo>
                    <a:pt x="1503631" y="1548165"/>
                  </a:lnTo>
                  <a:cubicBezTo>
                    <a:pt x="1506525" y="1521527"/>
                    <a:pt x="1510061" y="1496065"/>
                    <a:pt x="1514382" y="1472535"/>
                  </a:cubicBezTo>
                  <a:cubicBezTo>
                    <a:pt x="1540851" y="1328414"/>
                    <a:pt x="1674582" y="1240152"/>
                    <a:pt x="1686520" y="1106857"/>
                  </a:cubicBezTo>
                  <a:cubicBezTo>
                    <a:pt x="1709728" y="847741"/>
                    <a:pt x="1291541" y="876266"/>
                    <a:pt x="1247031" y="63413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07" name="Google Shape;307;p16"/>
            <p:cNvSpPr/>
            <p:nvPr/>
          </p:nvSpPr>
          <p:spPr>
            <a:xfrm rot="10800000">
              <a:off x="3544476" y="4736676"/>
              <a:ext cx="1702438" cy="1707638"/>
            </a:xfrm>
            <a:custGeom>
              <a:avLst/>
              <a:gdLst/>
              <a:ahLst/>
              <a:cxnLst/>
              <a:rect l="l" t="t" r="r" b="b"/>
              <a:pathLst>
                <a:path w="2414805" h="2422182" extrusionOk="0">
                  <a:moveTo>
                    <a:pt x="1352508" y="39350"/>
                  </a:moveTo>
                  <a:cubicBezTo>
                    <a:pt x="1571455" y="-29216"/>
                    <a:pt x="1828014" y="-13083"/>
                    <a:pt x="2010694" y="126738"/>
                  </a:cubicBezTo>
                  <a:cubicBezTo>
                    <a:pt x="2072483" y="173793"/>
                    <a:pt x="2126212" y="235637"/>
                    <a:pt x="2145017" y="310925"/>
                  </a:cubicBezTo>
                  <a:cubicBezTo>
                    <a:pt x="2181285" y="461501"/>
                    <a:pt x="2068453" y="609389"/>
                    <a:pt x="1939502" y="695432"/>
                  </a:cubicBezTo>
                  <a:cubicBezTo>
                    <a:pt x="1810551" y="781476"/>
                    <a:pt x="1657422" y="832565"/>
                    <a:pt x="1543247" y="936086"/>
                  </a:cubicBezTo>
                  <a:cubicBezTo>
                    <a:pt x="1508323" y="967008"/>
                    <a:pt x="1477429" y="1004652"/>
                    <a:pt x="1463996" y="1050363"/>
                  </a:cubicBezTo>
                  <a:cubicBezTo>
                    <a:pt x="1433102" y="1160606"/>
                    <a:pt x="1524442" y="1270849"/>
                    <a:pt x="1627871" y="1317904"/>
                  </a:cubicBezTo>
                  <a:cubicBezTo>
                    <a:pt x="1731301" y="1364960"/>
                    <a:pt x="1849505" y="1373026"/>
                    <a:pt x="1955621" y="1413359"/>
                  </a:cubicBezTo>
                  <a:cubicBezTo>
                    <a:pt x="2130242" y="1479236"/>
                    <a:pt x="2261879" y="1627124"/>
                    <a:pt x="2349189" y="1792489"/>
                  </a:cubicBezTo>
                  <a:cubicBezTo>
                    <a:pt x="2406948" y="1902732"/>
                    <a:pt x="2445902" y="2041209"/>
                    <a:pt x="2381427" y="2147419"/>
                  </a:cubicBezTo>
                  <a:cubicBezTo>
                    <a:pt x="2339787" y="2215985"/>
                    <a:pt x="2261879" y="2254973"/>
                    <a:pt x="2185314" y="2277829"/>
                  </a:cubicBezTo>
                  <a:cubicBezTo>
                    <a:pt x="1819954" y="2386728"/>
                    <a:pt x="1418326" y="2205229"/>
                    <a:pt x="1160425" y="1925588"/>
                  </a:cubicBezTo>
                  <a:cubicBezTo>
                    <a:pt x="1136247" y="1898699"/>
                    <a:pt x="1110725" y="1870466"/>
                    <a:pt x="1077144" y="1855677"/>
                  </a:cubicBezTo>
                  <a:cubicBezTo>
                    <a:pt x="1043563" y="1840889"/>
                    <a:pt x="999236" y="1844922"/>
                    <a:pt x="977745" y="1874499"/>
                  </a:cubicBezTo>
                  <a:cubicBezTo>
                    <a:pt x="968342" y="1889288"/>
                    <a:pt x="964312" y="1906766"/>
                    <a:pt x="961626" y="1922899"/>
                  </a:cubicBezTo>
                  <a:cubicBezTo>
                    <a:pt x="926702" y="2108430"/>
                    <a:pt x="854167" y="2312784"/>
                    <a:pt x="680889" y="2390761"/>
                  </a:cubicBezTo>
                  <a:cubicBezTo>
                    <a:pt x="561341" y="2444538"/>
                    <a:pt x="421645" y="2423027"/>
                    <a:pt x="300753" y="2373284"/>
                  </a:cubicBezTo>
                  <a:cubicBezTo>
                    <a:pt x="182548" y="2323540"/>
                    <a:pt x="69717" y="2241529"/>
                    <a:pt x="24047" y="2121875"/>
                  </a:cubicBezTo>
                  <a:cubicBezTo>
                    <a:pt x="-32369" y="1975332"/>
                    <a:pt x="21360" y="1812655"/>
                    <a:pt x="73746" y="1666112"/>
                  </a:cubicBezTo>
                  <a:cubicBezTo>
                    <a:pt x="178519" y="1375715"/>
                    <a:pt x="283291" y="1085318"/>
                    <a:pt x="389407" y="793576"/>
                  </a:cubicBezTo>
                  <a:cubicBezTo>
                    <a:pt x="427018" y="690055"/>
                    <a:pt x="475374" y="575778"/>
                    <a:pt x="565371" y="507212"/>
                  </a:cubicBezTo>
                  <a:cubicBezTo>
                    <a:pt x="625817" y="461501"/>
                    <a:pt x="702381" y="446713"/>
                    <a:pt x="765513" y="406380"/>
                  </a:cubicBezTo>
                  <a:cubicBezTo>
                    <a:pt x="965655" y="277314"/>
                    <a:pt x="1116098" y="111949"/>
                    <a:pt x="1352508" y="3935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08" name="Google Shape;308;p16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16"/>
          <p:cNvSpPr txBox="1">
            <a:spLocks noGrp="1"/>
          </p:cNvSpPr>
          <p:nvPr>
            <p:ph type="subTitle" idx="1"/>
          </p:nvPr>
        </p:nvSpPr>
        <p:spPr>
          <a:xfrm>
            <a:off x="959900" y="2610020"/>
            <a:ext cx="3298400" cy="108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0" name="Google Shape;310;p16"/>
          <p:cNvSpPr txBox="1">
            <a:spLocks noGrp="1"/>
          </p:cNvSpPr>
          <p:nvPr>
            <p:ph type="subTitle" idx="2"/>
          </p:nvPr>
        </p:nvSpPr>
        <p:spPr>
          <a:xfrm>
            <a:off x="4428848" y="2610020"/>
            <a:ext cx="3298400" cy="108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1" name="Google Shape;311;p16"/>
          <p:cNvSpPr txBox="1">
            <a:spLocks noGrp="1"/>
          </p:cNvSpPr>
          <p:nvPr>
            <p:ph type="subTitle" idx="3"/>
          </p:nvPr>
        </p:nvSpPr>
        <p:spPr>
          <a:xfrm>
            <a:off x="959900" y="5014528"/>
            <a:ext cx="3298400" cy="108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2" name="Google Shape;312;p16"/>
          <p:cNvSpPr txBox="1">
            <a:spLocks noGrp="1"/>
          </p:cNvSpPr>
          <p:nvPr>
            <p:ph type="subTitle" idx="4"/>
          </p:nvPr>
        </p:nvSpPr>
        <p:spPr>
          <a:xfrm>
            <a:off x="4428848" y="5014528"/>
            <a:ext cx="3298400" cy="108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3" name="Google Shape;313;p16"/>
          <p:cNvSpPr txBox="1">
            <a:spLocks noGrp="1"/>
          </p:cNvSpPr>
          <p:nvPr>
            <p:ph type="subTitle" idx="5"/>
          </p:nvPr>
        </p:nvSpPr>
        <p:spPr>
          <a:xfrm>
            <a:off x="7897796" y="2610020"/>
            <a:ext cx="3298400" cy="108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4" name="Google Shape;314;p16"/>
          <p:cNvSpPr txBox="1">
            <a:spLocks noGrp="1"/>
          </p:cNvSpPr>
          <p:nvPr>
            <p:ph type="subTitle" idx="6"/>
          </p:nvPr>
        </p:nvSpPr>
        <p:spPr>
          <a:xfrm>
            <a:off x="7897796" y="5014528"/>
            <a:ext cx="3298400" cy="10800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1400"/>
              <a:buNone/>
              <a:defRPr sz="1867">
                <a:latin typeface="DM Sans"/>
                <a:ea typeface="DM Sans"/>
                <a:cs typeface="DM Sans"/>
                <a:sym typeface="DM Sans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5" name="Google Shape;315;p16"/>
          <p:cNvSpPr txBox="1">
            <a:spLocks noGrp="1"/>
          </p:cNvSpPr>
          <p:nvPr>
            <p:ph type="subTitle" idx="7"/>
          </p:nvPr>
        </p:nvSpPr>
        <p:spPr>
          <a:xfrm>
            <a:off x="961567" y="2176500"/>
            <a:ext cx="3295200" cy="47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316" name="Google Shape;316;p16"/>
          <p:cNvSpPr txBox="1">
            <a:spLocks noGrp="1"/>
          </p:cNvSpPr>
          <p:nvPr>
            <p:ph type="subTitle" idx="8"/>
          </p:nvPr>
        </p:nvSpPr>
        <p:spPr>
          <a:xfrm>
            <a:off x="4430516" y="2176500"/>
            <a:ext cx="3295200" cy="47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317" name="Google Shape;317;p16"/>
          <p:cNvSpPr txBox="1">
            <a:spLocks noGrp="1"/>
          </p:cNvSpPr>
          <p:nvPr>
            <p:ph type="subTitle" idx="9"/>
          </p:nvPr>
        </p:nvSpPr>
        <p:spPr>
          <a:xfrm>
            <a:off x="7899467" y="2176500"/>
            <a:ext cx="3295200" cy="47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318" name="Google Shape;318;p16"/>
          <p:cNvSpPr txBox="1">
            <a:spLocks noGrp="1"/>
          </p:cNvSpPr>
          <p:nvPr>
            <p:ph type="subTitle" idx="13"/>
          </p:nvPr>
        </p:nvSpPr>
        <p:spPr>
          <a:xfrm>
            <a:off x="961567" y="4581001"/>
            <a:ext cx="3295200" cy="47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319" name="Google Shape;319;p16"/>
          <p:cNvSpPr txBox="1">
            <a:spLocks noGrp="1"/>
          </p:cNvSpPr>
          <p:nvPr>
            <p:ph type="subTitle" idx="14"/>
          </p:nvPr>
        </p:nvSpPr>
        <p:spPr>
          <a:xfrm>
            <a:off x="4430516" y="4581001"/>
            <a:ext cx="3295200" cy="47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  <p:sp>
        <p:nvSpPr>
          <p:cNvPr id="320" name="Google Shape;320;p16"/>
          <p:cNvSpPr txBox="1">
            <a:spLocks noGrp="1"/>
          </p:cNvSpPr>
          <p:nvPr>
            <p:ph type="subTitle" idx="15"/>
          </p:nvPr>
        </p:nvSpPr>
        <p:spPr>
          <a:xfrm>
            <a:off x="7899467" y="4581001"/>
            <a:ext cx="3295200" cy="4780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2933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Font typeface="DM Sans"/>
              <a:buNone/>
              <a:defRPr sz="3200" b="1"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21326"/>
      </p:ext>
    </p:extLst>
  </p:cSld>
  <p:clrMapOvr>
    <a:masterClrMapping/>
  </p:clrMapOvr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CUSTOM_7_1">
    <p:spTree>
      <p:nvGrpSpPr>
        <p:cNvPr id="1" name="Shape 3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2" name="Google Shape;322;p17"/>
          <p:cNvGrpSpPr/>
          <p:nvPr/>
        </p:nvGrpSpPr>
        <p:grpSpPr>
          <a:xfrm>
            <a:off x="-1905167" y="-1430626"/>
            <a:ext cx="15147904" cy="9135276"/>
            <a:chOff x="-1428875" y="-1072970"/>
            <a:chExt cx="11360928" cy="6851457"/>
          </a:xfrm>
        </p:grpSpPr>
        <p:sp>
          <p:nvSpPr>
            <p:cNvPr id="323" name="Google Shape;323;p17"/>
            <p:cNvSpPr/>
            <p:nvPr/>
          </p:nvSpPr>
          <p:spPr>
            <a:xfrm>
              <a:off x="7824028" y="3734333"/>
              <a:ext cx="2108025" cy="2044154"/>
            </a:xfrm>
            <a:custGeom>
              <a:avLst/>
              <a:gdLst/>
              <a:ahLst/>
              <a:cxnLst/>
              <a:rect l="l" t="t" r="r" b="b"/>
              <a:pathLst>
                <a:path w="1903409" h="1845737" extrusionOk="0">
                  <a:moveTo>
                    <a:pt x="1093751" y="1845737"/>
                  </a:moveTo>
                  <a:cubicBezTo>
                    <a:pt x="1091621" y="1845737"/>
                    <a:pt x="1089502" y="1845704"/>
                    <a:pt x="1087372" y="1845628"/>
                  </a:cubicBezTo>
                  <a:cubicBezTo>
                    <a:pt x="1015564" y="1843158"/>
                    <a:pt x="956360" y="1784738"/>
                    <a:pt x="904136" y="1733190"/>
                  </a:cubicBezTo>
                  <a:cubicBezTo>
                    <a:pt x="884306" y="1712576"/>
                    <a:pt x="863092" y="1693342"/>
                    <a:pt x="840641" y="1675622"/>
                  </a:cubicBezTo>
                  <a:cubicBezTo>
                    <a:pt x="784340" y="1632990"/>
                    <a:pt x="716602" y="1608139"/>
                    <a:pt x="646100" y="1604252"/>
                  </a:cubicBezTo>
                  <a:cubicBezTo>
                    <a:pt x="593304" y="1601687"/>
                    <a:pt x="540410" y="1601924"/>
                    <a:pt x="487639" y="1604963"/>
                  </a:cubicBezTo>
                  <a:cubicBezTo>
                    <a:pt x="313176" y="1611945"/>
                    <a:pt x="148379" y="1618524"/>
                    <a:pt x="51425" y="1406062"/>
                  </a:cubicBezTo>
                  <a:cubicBezTo>
                    <a:pt x="-35173" y="1216322"/>
                    <a:pt x="-11820" y="1047157"/>
                    <a:pt x="117171" y="929736"/>
                  </a:cubicBezTo>
                  <a:cubicBezTo>
                    <a:pt x="190475" y="863010"/>
                    <a:pt x="255959" y="836128"/>
                    <a:pt x="355917" y="908263"/>
                  </a:cubicBezTo>
                  <a:cubicBezTo>
                    <a:pt x="396071" y="937255"/>
                    <a:pt x="421292" y="979087"/>
                    <a:pt x="445694" y="1019542"/>
                  </a:cubicBezTo>
                  <a:cubicBezTo>
                    <a:pt x="471319" y="1062019"/>
                    <a:pt x="495514" y="1102147"/>
                    <a:pt x="534029" y="1121565"/>
                  </a:cubicBezTo>
                  <a:cubicBezTo>
                    <a:pt x="592216" y="1150928"/>
                    <a:pt x="661076" y="1155551"/>
                    <a:pt x="713748" y="1133576"/>
                  </a:cubicBezTo>
                  <a:cubicBezTo>
                    <a:pt x="749381" y="1119598"/>
                    <a:pt x="776832" y="1090316"/>
                    <a:pt x="788494" y="1053846"/>
                  </a:cubicBezTo>
                  <a:cubicBezTo>
                    <a:pt x="824846" y="941910"/>
                    <a:pt x="848702" y="895608"/>
                    <a:pt x="955934" y="853208"/>
                  </a:cubicBezTo>
                  <a:lnTo>
                    <a:pt x="960991" y="851209"/>
                  </a:lnTo>
                  <a:cubicBezTo>
                    <a:pt x="1004902" y="833910"/>
                    <a:pt x="1015333" y="829801"/>
                    <a:pt x="1032493" y="783641"/>
                  </a:cubicBezTo>
                  <a:cubicBezTo>
                    <a:pt x="1045088" y="749775"/>
                    <a:pt x="1053968" y="681694"/>
                    <a:pt x="1038666" y="656232"/>
                  </a:cubicBezTo>
                  <a:cubicBezTo>
                    <a:pt x="1022280" y="628967"/>
                    <a:pt x="984050" y="618684"/>
                    <a:pt x="943568" y="607800"/>
                  </a:cubicBezTo>
                  <a:cubicBezTo>
                    <a:pt x="893739" y="594392"/>
                    <a:pt x="837254" y="579201"/>
                    <a:pt x="818226" y="525437"/>
                  </a:cubicBezTo>
                  <a:cubicBezTo>
                    <a:pt x="799471" y="472435"/>
                    <a:pt x="815157" y="394760"/>
                    <a:pt x="864856" y="294562"/>
                  </a:cubicBezTo>
                  <a:cubicBezTo>
                    <a:pt x="900541" y="224371"/>
                    <a:pt x="942574" y="157596"/>
                    <a:pt x="990429" y="95073"/>
                  </a:cubicBezTo>
                  <a:cubicBezTo>
                    <a:pt x="1036284" y="35679"/>
                    <a:pt x="1087754" y="3791"/>
                    <a:pt x="1143385" y="305"/>
                  </a:cubicBezTo>
                  <a:cubicBezTo>
                    <a:pt x="1200491" y="-3169"/>
                    <a:pt x="1256985" y="23036"/>
                    <a:pt x="1312005" y="78386"/>
                  </a:cubicBezTo>
                  <a:cubicBezTo>
                    <a:pt x="1334019" y="103583"/>
                    <a:pt x="1353576" y="130826"/>
                    <a:pt x="1370411" y="159744"/>
                  </a:cubicBezTo>
                  <a:cubicBezTo>
                    <a:pt x="1415162" y="230108"/>
                    <a:pt x="1470980" y="317762"/>
                    <a:pt x="1532859" y="304397"/>
                  </a:cubicBezTo>
                  <a:cubicBezTo>
                    <a:pt x="1555404" y="299567"/>
                    <a:pt x="1579009" y="278312"/>
                    <a:pt x="1604001" y="255822"/>
                  </a:cubicBezTo>
                  <a:cubicBezTo>
                    <a:pt x="1632751" y="229945"/>
                    <a:pt x="1662484" y="203182"/>
                    <a:pt x="1698486" y="193173"/>
                  </a:cubicBezTo>
                  <a:cubicBezTo>
                    <a:pt x="1757919" y="176649"/>
                    <a:pt x="1801600" y="174573"/>
                    <a:pt x="1849017" y="212886"/>
                  </a:cubicBezTo>
                  <a:cubicBezTo>
                    <a:pt x="1956468" y="299643"/>
                    <a:pt x="1880105" y="427259"/>
                    <a:pt x="1829574" y="511700"/>
                  </a:cubicBezTo>
                  <a:cubicBezTo>
                    <a:pt x="1825488" y="518530"/>
                    <a:pt x="1821502" y="525174"/>
                    <a:pt x="1817734" y="531610"/>
                  </a:cubicBezTo>
                  <a:cubicBezTo>
                    <a:pt x="1792402" y="582320"/>
                    <a:pt x="1762094" y="630384"/>
                    <a:pt x="1727258" y="675094"/>
                  </a:cubicBezTo>
                  <a:cubicBezTo>
                    <a:pt x="1668590" y="755545"/>
                    <a:pt x="1613166" y="831527"/>
                    <a:pt x="1604078" y="951593"/>
                  </a:cubicBezTo>
                  <a:cubicBezTo>
                    <a:pt x="1601576" y="984584"/>
                    <a:pt x="1599905" y="1017225"/>
                    <a:pt x="1598288" y="1048807"/>
                  </a:cubicBezTo>
                  <a:cubicBezTo>
                    <a:pt x="1591440" y="1182554"/>
                    <a:pt x="1584973" y="1308881"/>
                    <a:pt x="1518265" y="1440617"/>
                  </a:cubicBezTo>
                  <a:cubicBezTo>
                    <a:pt x="1471695" y="1531885"/>
                    <a:pt x="1414362" y="1617243"/>
                    <a:pt x="1347494" y="1694866"/>
                  </a:cubicBezTo>
                  <a:cubicBezTo>
                    <a:pt x="1258449" y="1795010"/>
                    <a:pt x="1173118" y="1845737"/>
                    <a:pt x="1093751" y="1845737"/>
                  </a:cubicBezTo>
                  <a:close/>
                  <a:moveTo>
                    <a:pt x="584526" y="1568813"/>
                  </a:moveTo>
                  <a:cubicBezTo>
                    <a:pt x="605641" y="1568813"/>
                    <a:pt x="626920" y="1569347"/>
                    <a:pt x="648296" y="1570746"/>
                  </a:cubicBezTo>
                  <a:cubicBezTo>
                    <a:pt x="725196" y="1574976"/>
                    <a:pt x="799084" y="1602072"/>
                    <a:pt x="860499" y="1648564"/>
                  </a:cubicBezTo>
                  <a:cubicBezTo>
                    <a:pt x="884284" y="1667217"/>
                    <a:pt x="906738" y="1687509"/>
                    <a:pt x="927698" y="1709291"/>
                  </a:cubicBezTo>
                  <a:cubicBezTo>
                    <a:pt x="977889" y="1758828"/>
                    <a:pt x="1029796" y="1810058"/>
                    <a:pt x="1088529" y="1812078"/>
                  </a:cubicBezTo>
                  <a:cubicBezTo>
                    <a:pt x="1090255" y="1812133"/>
                    <a:pt x="1091992" y="1812167"/>
                    <a:pt x="1093728" y="1812167"/>
                  </a:cubicBezTo>
                  <a:cubicBezTo>
                    <a:pt x="1250518" y="1812177"/>
                    <a:pt x="1415152" y="1570026"/>
                    <a:pt x="1488336" y="1425449"/>
                  </a:cubicBezTo>
                  <a:cubicBezTo>
                    <a:pt x="1551821" y="1300051"/>
                    <a:pt x="1558113" y="1177177"/>
                    <a:pt x="1564776" y="1047081"/>
                  </a:cubicBezTo>
                  <a:cubicBezTo>
                    <a:pt x="1566403" y="1015313"/>
                    <a:pt x="1568086" y="982453"/>
                    <a:pt x="1570610" y="949057"/>
                  </a:cubicBezTo>
                  <a:cubicBezTo>
                    <a:pt x="1580429" y="819452"/>
                    <a:pt x="1641292" y="736006"/>
                    <a:pt x="1700157" y="655303"/>
                  </a:cubicBezTo>
                  <a:cubicBezTo>
                    <a:pt x="1733824" y="612140"/>
                    <a:pt x="1763122" y="565738"/>
                    <a:pt x="1787619" y="516781"/>
                  </a:cubicBezTo>
                  <a:lnTo>
                    <a:pt x="1788372" y="515327"/>
                  </a:lnTo>
                  <a:cubicBezTo>
                    <a:pt x="1792316" y="508596"/>
                    <a:pt x="1796488" y="501624"/>
                    <a:pt x="1800780" y="494455"/>
                  </a:cubicBezTo>
                  <a:cubicBezTo>
                    <a:pt x="1862015" y="392137"/>
                    <a:pt x="1906320" y="302287"/>
                    <a:pt x="1827937" y="239004"/>
                  </a:cubicBezTo>
                  <a:cubicBezTo>
                    <a:pt x="1791115" y="209280"/>
                    <a:pt x="1759764" y="210985"/>
                    <a:pt x="1707465" y="225519"/>
                  </a:cubicBezTo>
                  <a:cubicBezTo>
                    <a:pt x="1679065" y="233409"/>
                    <a:pt x="1652314" y="257494"/>
                    <a:pt x="1626448" y="280782"/>
                  </a:cubicBezTo>
                  <a:cubicBezTo>
                    <a:pt x="1598026" y="306353"/>
                    <a:pt x="1571188" y="330515"/>
                    <a:pt x="1539894" y="337224"/>
                  </a:cubicBezTo>
                  <a:cubicBezTo>
                    <a:pt x="1455043" y="355376"/>
                    <a:pt x="1392443" y="256904"/>
                    <a:pt x="1342098" y="177764"/>
                  </a:cubicBezTo>
                  <a:cubicBezTo>
                    <a:pt x="1326471" y="150944"/>
                    <a:pt x="1308436" y="125603"/>
                    <a:pt x="1288214" y="102056"/>
                  </a:cubicBezTo>
                  <a:cubicBezTo>
                    <a:pt x="1240295" y="53841"/>
                    <a:pt x="1192397" y="30881"/>
                    <a:pt x="1145483" y="33811"/>
                  </a:cubicBezTo>
                  <a:cubicBezTo>
                    <a:pt x="1099911" y="36662"/>
                    <a:pt x="1056677" y="64179"/>
                    <a:pt x="1016994" y="115596"/>
                  </a:cubicBezTo>
                  <a:cubicBezTo>
                    <a:pt x="943896" y="210286"/>
                    <a:pt x="814894" y="415457"/>
                    <a:pt x="849860" y="514224"/>
                  </a:cubicBezTo>
                  <a:cubicBezTo>
                    <a:pt x="863000" y="551368"/>
                    <a:pt x="906366" y="563028"/>
                    <a:pt x="952275" y="575376"/>
                  </a:cubicBezTo>
                  <a:cubicBezTo>
                    <a:pt x="997409" y="587506"/>
                    <a:pt x="1044072" y="600063"/>
                    <a:pt x="1067426" y="638933"/>
                  </a:cubicBezTo>
                  <a:cubicBezTo>
                    <a:pt x="1091293" y="678656"/>
                    <a:pt x="1076940" y="760397"/>
                    <a:pt x="1063952" y="795345"/>
                  </a:cubicBezTo>
                  <a:cubicBezTo>
                    <a:pt x="1041571" y="855547"/>
                    <a:pt x="1020173" y="863972"/>
                    <a:pt x="973280" y="882451"/>
                  </a:cubicBezTo>
                  <a:lnTo>
                    <a:pt x="968265" y="884429"/>
                  </a:lnTo>
                  <a:cubicBezTo>
                    <a:pt x="870592" y="923060"/>
                    <a:pt x="854000" y="960793"/>
                    <a:pt x="820411" y="1064226"/>
                  </a:cubicBezTo>
                  <a:cubicBezTo>
                    <a:pt x="805825" y="1110075"/>
                    <a:pt x="771392" y="1146924"/>
                    <a:pt x="726647" y="1164567"/>
                  </a:cubicBezTo>
                  <a:cubicBezTo>
                    <a:pt x="665216" y="1190171"/>
                    <a:pt x="585619" y="1185177"/>
                    <a:pt x="518912" y="1151551"/>
                  </a:cubicBezTo>
                  <a:cubicBezTo>
                    <a:pt x="471778" y="1127761"/>
                    <a:pt x="443913" y="1081569"/>
                    <a:pt x="416967" y="1036884"/>
                  </a:cubicBezTo>
                  <a:cubicBezTo>
                    <a:pt x="394301" y="999314"/>
                    <a:pt x="370872" y="960465"/>
                    <a:pt x="336277" y="935496"/>
                  </a:cubicBezTo>
                  <a:cubicBezTo>
                    <a:pt x="262153" y="881971"/>
                    <a:pt x="214386" y="886626"/>
                    <a:pt x="139761" y="954565"/>
                  </a:cubicBezTo>
                  <a:cubicBezTo>
                    <a:pt x="56766" y="1030110"/>
                    <a:pt x="-20635" y="1167342"/>
                    <a:pt x="81944" y="1392118"/>
                  </a:cubicBezTo>
                  <a:cubicBezTo>
                    <a:pt x="169558" y="1584100"/>
                    <a:pt x="316344" y="1578233"/>
                    <a:pt x="486306" y="1571413"/>
                  </a:cubicBezTo>
                  <a:cubicBezTo>
                    <a:pt x="518464" y="1570124"/>
                    <a:pt x="551299" y="1568813"/>
                    <a:pt x="584526" y="156881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4" name="Google Shape;324;p17"/>
            <p:cNvSpPr/>
            <p:nvPr/>
          </p:nvSpPr>
          <p:spPr>
            <a:xfrm rot="4634833">
              <a:off x="-1950989" y="-110110"/>
              <a:ext cx="3094168" cy="1401492"/>
            </a:xfrm>
            <a:custGeom>
              <a:avLst/>
              <a:gdLst/>
              <a:ahLst/>
              <a:cxnLst/>
              <a:rect l="l" t="t" r="r" b="b"/>
              <a:pathLst>
                <a:path w="2787843" h="1262743" extrusionOk="0">
                  <a:moveTo>
                    <a:pt x="853688" y="1262743"/>
                  </a:moveTo>
                  <a:cubicBezTo>
                    <a:pt x="805713" y="1262749"/>
                    <a:pt x="763571" y="1255094"/>
                    <a:pt x="734812" y="1235593"/>
                  </a:cubicBezTo>
                  <a:cubicBezTo>
                    <a:pt x="704631" y="1215130"/>
                    <a:pt x="691081" y="1182904"/>
                    <a:pt x="695614" y="1142394"/>
                  </a:cubicBezTo>
                  <a:cubicBezTo>
                    <a:pt x="712074" y="995380"/>
                    <a:pt x="870979" y="933950"/>
                    <a:pt x="1024650" y="874545"/>
                  </a:cubicBezTo>
                  <a:cubicBezTo>
                    <a:pt x="1154373" y="824397"/>
                    <a:pt x="1288509" y="772538"/>
                    <a:pt x="1335194" y="671449"/>
                  </a:cubicBezTo>
                  <a:cubicBezTo>
                    <a:pt x="1371169" y="593550"/>
                    <a:pt x="1355369" y="481539"/>
                    <a:pt x="1274505" y="438947"/>
                  </a:cubicBezTo>
                  <a:cubicBezTo>
                    <a:pt x="1164378" y="380953"/>
                    <a:pt x="978811" y="463229"/>
                    <a:pt x="888079" y="537107"/>
                  </a:cubicBezTo>
                  <a:cubicBezTo>
                    <a:pt x="801344" y="607734"/>
                    <a:pt x="764516" y="697261"/>
                    <a:pt x="725527" y="792045"/>
                  </a:cubicBezTo>
                  <a:cubicBezTo>
                    <a:pt x="696630" y="862289"/>
                    <a:pt x="666750" y="934922"/>
                    <a:pt x="614903" y="999490"/>
                  </a:cubicBezTo>
                  <a:cubicBezTo>
                    <a:pt x="520703" y="1116806"/>
                    <a:pt x="352645" y="1137307"/>
                    <a:pt x="153839" y="1055746"/>
                  </a:cubicBezTo>
                  <a:cubicBezTo>
                    <a:pt x="37054" y="1007833"/>
                    <a:pt x="6235" y="932648"/>
                    <a:pt x="943" y="878014"/>
                  </a:cubicBezTo>
                  <a:cubicBezTo>
                    <a:pt x="-12122" y="743082"/>
                    <a:pt x="113456" y="582425"/>
                    <a:pt x="239187" y="498488"/>
                  </a:cubicBezTo>
                  <a:cubicBezTo>
                    <a:pt x="256095" y="474047"/>
                    <a:pt x="270416" y="448482"/>
                    <a:pt x="285544" y="421462"/>
                  </a:cubicBezTo>
                  <a:cubicBezTo>
                    <a:pt x="333704" y="335464"/>
                    <a:pt x="383502" y="246545"/>
                    <a:pt x="522980" y="179726"/>
                  </a:cubicBezTo>
                  <a:cubicBezTo>
                    <a:pt x="745899" y="72927"/>
                    <a:pt x="1022837" y="55415"/>
                    <a:pt x="1267171" y="39963"/>
                  </a:cubicBezTo>
                  <a:cubicBezTo>
                    <a:pt x="1299197" y="37936"/>
                    <a:pt x="1330802" y="35937"/>
                    <a:pt x="1361814" y="33772"/>
                  </a:cubicBezTo>
                  <a:cubicBezTo>
                    <a:pt x="1396669" y="31346"/>
                    <a:pt x="1431736" y="28835"/>
                    <a:pt x="1467014" y="26238"/>
                  </a:cubicBezTo>
                  <a:cubicBezTo>
                    <a:pt x="1704237" y="9004"/>
                    <a:pt x="1949503" y="-8830"/>
                    <a:pt x="2185120" y="4857"/>
                  </a:cubicBezTo>
                  <a:lnTo>
                    <a:pt x="2190194" y="5152"/>
                  </a:lnTo>
                  <a:cubicBezTo>
                    <a:pt x="2347618" y="14282"/>
                    <a:pt x="2543540" y="25642"/>
                    <a:pt x="2672170" y="137265"/>
                  </a:cubicBezTo>
                  <a:cubicBezTo>
                    <a:pt x="2885117" y="322062"/>
                    <a:pt x="2759576" y="513984"/>
                    <a:pt x="2648817" y="683306"/>
                  </a:cubicBezTo>
                  <a:cubicBezTo>
                    <a:pt x="2635053" y="704348"/>
                    <a:pt x="2620821" y="726111"/>
                    <a:pt x="2607637" y="747229"/>
                  </a:cubicBezTo>
                  <a:cubicBezTo>
                    <a:pt x="2592634" y="771266"/>
                    <a:pt x="2578286" y="796011"/>
                    <a:pt x="2564408" y="819944"/>
                  </a:cubicBezTo>
                  <a:cubicBezTo>
                    <a:pt x="2488023" y="951702"/>
                    <a:pt x="2415368" y="1076968"/>
                    <a:pt x="2243853" y="1076985"/>
                  </a:cubicBezTo>
                  <a:cubicBezTo>
                    <a:pt x="2220253" y="1076865"/>
                    <a:pt x="2196705" y="1074752"/>
                    <a:pt x="2173460" y="1070668"/>
                  </a:cubicBezTo>
                  <a:cubicBezTo>
                    <a:pt x="2087762" y="1056079"/>
                    <a:pt x="2066560" y="1044868"/>
                    <a:pt x="2055087" y="968055"/>
                  </a:cubicBezTo>
                  <a:cubicBezTo>
                    <a:pt x="2044895" y="899870"/>
                    <a:pt x="2082444" y="840422"/>
                    <a:pt x="2118757" y="782930"/>
                  </a:cubicBezTo>
                  <a:cubicBezTo>
                    <a:pt x="2156540" y="723106"/>
                    <a:pt x="2192231" y="666602"/>
                    <a:pt x="2181171" y="599833"/>
                  </a:cubicBezTo>
                  <a:cubicBezTo>
                    <a:pt x="2176153" y="569520"/>
                    <a:pt x="2165650" y="549439"/>
                    <a:pt x="2149069" y="538434"/>
                  </a:cubicBezTo>
                  <a:cubicBezTo>
                    <a:pt x="2117157" y="517278"/>
                    <a:pt x="2060602" y="528518"/>
                    <a:pt x="1995446" y="544166"/>
                  </a:cubicBezTo>
                  <a:cubicBezTo>
                    <a:pt x="1819234" y="586495"/>
                    <a:pt x="1662718" y="690065"/>
                    <a:pt x="1542826" y="843690"/>
                  </a:cubicBezTo>
                  <a:cubicBezTo>
                    <a:pt x="1525731" y="865600"/>
                    <a:pt x="1509188" y="887954"/>
                    <a:pt x="1491673" y="911623"/>
                  </a:cubicBezTo>
                  <a:cubicBezTo>
                    <a:pt x="1418744" y="1010172"/>
                    <a:pt x="1343332" y="1112074"/>
                    <a:pt x="1233560" y="1170807"/>
                  </a:cubicBezTo>
                  <a:cubicBezTo>
                    <a:pt x="1184553" y="1197028"/>
                    <a:pt x="994202" y="1262738"/>
                    <a:pt x="853688" y="1262743"/>
                  </a:cubicBezTo>
                  <a:close/>
                  <a:moveTo>
                    <a:pt x="1185985" y="385886"/>
                  </a:moveTo>
                  <a:cubicBezTo>
                    <a:pt x="1222085" y="385077"/>
                    <a:pt x="1257836" y="393095"/>
                    <a:pt x="1290136" y="409245"/>
                  </a:cubicBezTo>
                  <a:cubicBezTo>
                    <a:pt x="1368706" y="450628"/>
                    <a:pt x="1419924" y="568023"/>
                    <a:pt x="1365659" y="685525"/>
                  </a:cubicBezTo>
                  <a:cubicBezTo>
                    <a:pt x="1313276" y="798957"/>
                    <a:pt x="1172697" y="853301"/>
                    <a:pt x="1036748" y="905859"/>
                  </a:cubicBezTo>
                  <a:cubicBezTo>
                    <a:pt x="885764" y="964225"/>
                    <a:pt x="743156" y="1019351"/>
                    <a:pt x="728962" y="1146131"/>
                  </a:cubicBezTo>
                  <a:cubicBezTo>
                    <a:pt x="725772" y="1174626"/>
                    <a:pt x="733609" y="1194225"/>
                    <a:pt x="753638" y="1207803"/>
                  </a:cubicBezTo>
                  <a:cubicBezTo>
                    <a:pt x="847182" y="1271223"/>
                    <a:pt x="1152675" y="1176014"/>
                    <a:pt x="1217733" y="1141203"/>
                  </a:cubicBezTo>
                  <a:cubicBezTo>
                    <a:pt x="1320852" y="1086033"/>
                    <a:pt x="1393982" y="987212"/>
                    <a:pt x="1464703" y="891647"/>
                  </a:cubicBezTo>
                  <a:cubicBezTo>
                    <a:pt x="1481568" y="868852"/>
                    <a:pt x="1499013" y="845280"/>
                    <a:pt x="1516381" y="823030"/>
                  </a:cubicBezTo>
                  <a:cubicBezTo>
                    <a:pt x="1640992" y="663357"/>
                    <a:pt x="1803942" y="555640"/>
                    <a:pt x="1987614" y="511524"/>
                  </a:cubicBezTo>
                  <a:cubicBezTo>
                    <a:pt x="2063158" y="493384"/>
                    <a:pt x="2124398" y="481795"/>
                    <a:pt x="2167610" y="510459"/>
                  </a:cubicBezTo>
                  <a:cubicBezTo>
                    <a:pt x="2192385" y="526890"/>
                    <a:pt x="2207649" y="554329"/>
                    <a:pt x="2214280" y="594347"/>
                  </a:cubicBezTo>
                  <a:cubicBezTo>
                    <a:pt x="2227426" y="673728"/>
                    <a:pt x="2186601" y="738361"/>
                    <a:pt x="2147125" y="800864"/>
                  </a:cubicBezTo>
                  <a:cubicBezTo>
                    <a:pt x="2112569" y="855574"/>
                    <a:pt x="2079926" y="907252"/>
                    <a:pt x="2088271" y="963093"/>
                  </a:cubicBezTo>
                  <a:cubicBezTo>
                    <a:pt x="2096812" y="1020257"/>
                    <a:pt x="2101903" y="1024438"/>
                    <a:pt x="2179085" y="1037579"/>
                  </a:cubicBezTo>
                  <a:cubicBezTo>
                    <a:pt x="2379645" y="1071680"/>
                    <a:pt x="2451819" y="947232"/>
                    <a:pt x="2535380" y="803104"/>
                  </a:cubicBezTo>
                  <a:cubicBezTo>
                    <a:pt x="2549394" y="778936"/>
                    <a:pt x="2563879" y="753944"/>
                    <a:pt x="2579171" y="729450"/>
                  </a:cubicBezTo>
                  <a:cubicBezTo>
                    <a:pt x="2592546" y="708025"/>
                    <a:pt x="2606878" y="686115"/>
                    <a:pt x="2620739" y="664925"/>
                  </a:cubicBezTo>
                  <a:cubicBezTo>
                    <a:pt x="2734006" y="491767"/>
                    <a:pt x="2840993" y="328214"/>
                    <a:pt x="2650183" y="162629"/>
                  </a:cubicBezTo>
                  <a:cubicBezTo>
                    <a:pt x="2530186" y="58497"/>
                    <a:pt x="2348524" y="47963"/>
                    <a:pt x="2188249" y="38668"/>
                  </a:cubicBezTo>
                  <a:lnTo>
                    <a:pt x="2183176" y="38373"/>
                  </a:lnTo>
                  <a:cubicBezTo>
                    <a:pt x="1949782" y="24834"/>
                    <a:pt x="1705597" y="42575"/>
                    <a:pt x="1469445" y="59716"/>
                  </a:cubicBezTo>
                  <a:cubicBezTo>
                    <a:pt x="1434152" y="62283"/>
                    <a:pt x="1399054" y="64800"/>
                    <a:pt x="1364151" y="67267"/>
                  </a:cubicBezTo>
                  <a:cubicBezTo>
                    <a:pt x="1333070" y="69430"/>
                    <a:pt x="1301392" y="71435"/>
                    <a:pt x="1269283" y="73463"/>
                  </a:cubicBezTo>
                  <a:cubicBezTo>
                    <a:pt x="1027999" y="88723"/>
                    <a:pt x="754517" y="106016"/>
                    <a:pt x="537475" y="210007"/>
                  </a:cubicBezTo>
                  <a:cubicBezTo>
                    <a:pt x="407583" y="272231"/>
                    <a:pt x="360428" y="356436"/>
                    <a:pt x="314818" y="437870"/>
                  </a:cubicBezTo>
                  <a:cubicBezTo>
                    <a:pt x="299570" y="466194"/>
                    <a:pt x="282892" y="493725"/>
                    <a:pt x="264850" y="520355"/>
                  </a:cubicBezTo>
                  <a:lnTo>
                    <a:pt x="263016" y="522972"/>
                  </a:lnTo>
                  <a:lnTo>
                    <a:pt x="260350" y="524731"/>
                  </a:lnTo>
                  <a:cubicBezTo>
                    <a:pt x="141911" y="602757"/>
                    <a:pt x="22451" y="751961"/>
                    <a:pt x="34345" y="874780"/>
                  </a:cubicBezTo>
                  <a:cubicBezTo>
                    <a:pt x="40747" y="940883"/>
                    <a:pt x="85230" y="991315"/>
                    <a:pt x="166575" y="1024689"/>
                  </a:cubicBezTo>
                  <a:cubicBezTo>
                    <a:pt x="253655" y="1060397"/>
                    <a:pt x="469123" y="1127423"/>
                    <a:pt x="588742" y="978464"/>
                  </a:cubicBezTo>
                  <a:cubicBezTo>
                    <a:pt x="637557" y="917672"/>
                    <a:pt x="666504" y="847313"/>
                    <a:pt x="694495" y="779270"/>
                  </a:cubicBezTo>
                  <a:cubicBezTo>
                    <a:pt x="733364" y="684782"/>
                    <a:pt x="773555" y="587080"/>
                    <a:pt x="866899" y="511071"/>
                  </a:cubicBezTo>
                  <a:cubicBezTo>
                    <a:pt x="942427" y="449563"/>
                    <a:pt x="1072827" y="385886"/>
                    <a:pt x="1185985" y="3858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25" name="Google Shape;325;p17"/>
          <p:cNvGrpSpPr/>
          <p:nvPr/>
        </p:nvGrpSpPr>
        <p:grpSpPr>
          <a:xfrm>
            <a:off x="-1120954" y="-1197134"/>
            <a:ext cx="13857223" cy="9789553"/>
            <a:chOff x="-840716" y="-897851"/>
            <a:chExt cx="10392917" cy="7342165"/>
          </a:xfrm>
        </p:grpSpPr>
        <p:sp>
          <p:nvSpPr>
            <p:cNvPr id="326" name="Google Shape;326;p17"/>
            <p:cNvSpPr/>
            <p:nvPr/>
          </p:nvSpPr>
          <p:spPr>
            <a:xfrm rot="10800000">
              <a:off x="-840716" y="3448554"/>
              <a:ext cx="1851180" cy="1928261"/>
            </a:xfrm>
            <a:custGeom>
              <a:avLst/>
              <a:gdLst/>
              <a:ahLst/>
              <a:cxnLst/>
              <a:rect l="l" t="t" r="r" b="b"/>
              <a:pathLst>
                <a:path w="1851180" h="1928261" extrusionOk="0">
                  <a:moveTo>
                    <a:pt x="222219" y="504927"/>
                  </a:moveTo>
                  <a:cubicBezTo>
                    <a:pt x="306870" y="574402"/>
                    <a:pt x="421317" y="585438"/>
                    <a:pt x="513461" y="619503"/>
                  </a:cubicBezTo>
                  <a:cubicBezTo>
                    <a:pt x="710295" y="692270"/>
                    <a:pt x="698441" y="786656"/>
                    <a:pt x="727559" y="1149243"/>
                  </a:cubicBezTo>
                  <a:cubicBezTo>
                    <a:pt x="768608" y="1660375"/>
                    <a:pt x="830482" y="2049043"/>
                    <a:pt x="1186048" y="1893619"/>
                  </a:cubicBezTo>
                  <a:cubicBezTo>
                    <a:pt x="1439650" y="1782763"/>
                    <a:pt x="1488895" y="1789872"/>
                    <a:pt x="1559382" y="1349460"/>
                  </a:cubicBezTo>
                  <a:cubicBezTo>
                    <a:pt x="1609598" y="1035713"/>
                    <a:pt x="1602978" y="742907"/>
                    <a:pt x="1689368" y="438788"/>
                  </a:cubicBezTo>
                  <a:cubicBezTo>
                    <a:pt x="1732120" y="288636"/>
                    <a:pt x="1786215" y="141951"/>
                    <a:pt x="1851185" y="0"/>
                  </a:cubicBezTo>
                  <a:lnTo>
                    <a:pt x="5" y="0"/>
                  </a:lnTo>
                  <a:cubicBezTo>
                    <a:pt x="41452" y="214402"/>
                    <a:pt x="100046" y="404660"/>
                    <a:pt x="222219" y="504927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7" name="Google Shape;327;p17"/>
            <p:cNvSpPr/>
            <p:nvPr/>
          </p:nvSpPr>
          <p:spPr>
            <a:xfrm rot="-5076197" flipH="1">
              <a:off x="7706325" y="-746686"/>
              <a:ext cx="1839031" cy="1687237"/>
            </a:xfrm>
            <a:custGeom>
              <a:avLst/>
              <a:gdLst/>
              <a:ahLst/>
              <a:cxnLst/>
              <a:rect l="l" t="t" r="r" b="b"/>
              <a:pathLst>
                <a:path w="1687446" h="1548164" extrusionOk="0">
                  <a:moveTo>
                    <a:pt x="1247031" y="634130"/>
                  </a:moveTo>
                  <a:cubicBezTo>
                    <a:pt x="1227364" y="527137"/>
                    <a:pt x="1277374" y="434846"/>
                    <a:pt x="1240738" y="325562"/>
                  </a:cubicBezTo>
                  <a:cubicBezTo>
                    <a:pt x="1143406" y="35220"/>
                    <a:pt x="767133" y="-94123"/>
                    <a:pt x="573695" y="76053"/>
                  </a:cubicBezTo>
                  <a:cubicBezTo>
                    <a:pt x="381743" y="244923"/>
                    <a:pt x="500205" y="465024"/>
                    <a:pt x="493422" y="693793"/>
                  </a:cubicBezTo>
                  <a:cubicBezTo>
                    <a:pt x="492299" y="750897"/>
                    <a:pt x="480941" y="807334"/>
                    <a:pt x="459888" y="860423"/>
                  </a:cubicBezTo>
                  <a:cubicBezTo>
                    <a:pt x="396447" y="1014854"/>
                    <a:pt x="162628" y="925558"/>
                    <a:pt x="215282" y="767120"/>
                  </a:cubicBezTo>
                  <a:cubicBezTo>
                    <a:pt x="276407" y="583189"/>
                    <a:pt x="338615" y="348217"/>
                    <a:pt x="232071" y="263066"/>
                  </a:cubicBezTo>
                  <a:cubicBezTo>
                    <a:pt x="232783" y="260311"/>
                    <a:pt x="233361" y="257482"/>
                    <a:pt x="233826" y="254593"/>
                  </a:cubicBezTo>
                  <a:cubicBezTo>
                    <a:pt x="242345" y="201613"/>
                    <a:pt x="213965" y="150229"/>
                    <a:pt x="174010" y="139542"/>
                  </a:cubicBezTo>
                  <a:cubicBezTo>
                    <a:pt x="115672" y="123939"/>
                    <a:pt x="57382" y="102718"/>
                    <a:pt x="5" y="81727"/>
                  </a:cubicBezTo>
                  <a:lnTo>
                    <a:pt x="5" y="1548165"/>
                  </a:lnTo>
                  <a:lnTo>
                    <a:pt x="1503631" y="1548165"/>
                  </a:lnTo>
                  <a:cubicBezTo>
                    <a:pt x="1506525" y="1521527"/>
                    <a:pt x="1510061" y="1496065"/>
                    <a:pt x="1514382" y="1472535"/>
                  </a:cubicBezTo>
                  <a:cubicBezTo>
                    <a:pt x="1540851" y="1328414"/>
                    <a:pt x="1674582" y="1240152"/>
                    <a:pt x="1686520" y="1106857"/>
                  </a:cubicBezTo>
                  <a:cubicBezTo>
                    <a:pt x="1709728" y="847741"/>
                    <a:pt x="1291541" y="876266"/>
                    <a:pt x="1247031" y="63413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28" name="Google Shape;328;p17"/>
            <p:cNvSpPr/>
            <p:nvPr/>
          </p:nvSpPr>
          <p:spPr>
            <a:xfrm rot="10800000">
              <a:off x="3544476" y="4736676"/>
              <a:ext cx="1702438" cy="1707638"/>
            </a:xfrm>
            <a:custGeom>
              <a:avLst/>
              <a:gdLst/>
              <a:ahLst/>
              <a:cxnLst/>
              <a:rect l="l" t="t" r="r" b="b"/>
              <a:pathLst>
                <a:path w="2414805" h="2422182" extrusionOk="0">
                  <a:moveTo>
                    <a:pt x="1352508" y="39350"/>
                  </a:moveTo>
                  <a:cubicBezTo>
                    <a:pt x="1571455" y="-29216"/>
                    <a:pt x="1828014" y="-13083"/>
                    <a:pt x="2010694" y="126738"/>
                  </a:cubicBezTo>
                  <a:cubicBezTo>
                    <a:pt x="2072483" y="173793"/>
                    <a:pt x="2126212" y="235637"/>
                    <a:pt x="2145017" y="310925"/>
                  </a:cubicBezTo>
                  <a:cubicBezTo>
                    <a:pt x="2181285" y="461501"/>
                    <a:pt x="2068453" y="609389"/>
                    <a:pt x="1939502" y="695432"/>
                  </a:cubicBezTo>
                  <a:cubicBezTo>
                    <a:pt x="1810551" y="781476"/>
                    <a:pt x="1657422" y="832565"/>
                    <a:pt x="1543247" y="936086"/>
                  </a:cubicBezTo>
                  <a:cubicBezTo>
                    <a:pt x="1508323" y="967008"/>
                    <a:pt x="1477429" y="1004652"/>
                    <a:pt x="1463996" y="1050363"/>
                  </a:cubicBezTo>
                  <a:cubicBezTo>
                    <a:pt x="1433102" y="1160606"/>
                    <a:pt x="1524442" y="1270849"/>
                    <a:pt x="1627871" y="1317904"/>
                  </a:cubicBezTo>
                  <a:cubicBezTo>
                    <a:pt x="1731301" y="1364960"/>
                    <a:pt x="1849505" y="1373026"/>
                    <a:pt x="1955621" y="1413359"/>
                  </a:cubicBezTo>
                  <a:cubicBezTo>
                    <a:pt x="2130242" y="1479236"/>
                    <a:pt x="2261879" y="1627124"/>
                    <a:pt x="2349189" y="1792489"/>
                  </a:cubicBezTo>
                  <a:cubicBezTo>
                    <a:pt x="2406948" y="1902732"/>
                    <a:pt x="2445902" y="2041209"/>
                    <a:pt x="2381427" y="2147419"/>
                  </a:cubicBezTo>
                  <a:cubicBezTo>
                    <a:pt x="2339787" y="2215985"/>
                    <a:pt x="2261879" y="2254973"/>
                    <a:pt x="2185314" y="2277829"/>
                  </a:cubicBezTo>
                  <a:cubicBezTo>
                    <a:pt x="1819954" y="2386728"/>
                    <a:pt x="1418326" y="2205229"/>
                    <a:pt x="1160425" y="1925588"/>
                  </a:cubicBezTo>
                  <a:cubicBezTo>
                    <a:pt x="1136247" y="1898699"/>
                    <a:pt x="1110725" y="1870466"/>
                    <a:pt x="1077144" y="1855677"/>
                  </a:cubicBezTo>
                  <a:cubicBezTo>
                    <a:pt x="1043563" y="1840889"/>
                    <a:pt x="999236" y="1844922"/>
                    <a:pt x="977745" y="1874499"/>
                  </a:cubicBezTo>
                  <a:cubicBezTo>
                    <a:pt x="968342" y="1889288"/>
                    <a:pt x="964312" y="1906766"/>
                    <a:pt x="961626" y="1922899"/>
                  </a:cubicBezTo>
                  <a:cubicBezTo>
                    <a:pt x="926702" y="2108430"/>
                    <a:pt x="854167" y="2312784"/>
                    <a:pt x="680889" y="2390761"/>
                  </a:cubicBezTo>
                  <a:cubicBezTo>
                    <a:pt x="561341" y="2444538"/>
                    <a:pt x="421645" y="2423027"/>
                    <a:pt x="300753" y="2373284"/>
                  </a:cubicBezTo>
                  <a:cubicBezTo>
                    <a:pt x="182548" y="2323540"/>
                    <a:pt x="69717" y="2241529"/>
                    <a:pt x="24047" y="2121875"/>
                  </a:cubicBezTo>
                  <a:cubicBezTo>
                    <a:pt x="-32369" y="1975332"/>
                    <a:pt x="21360" y="1812655"/>
                    <a:pt x="73746" y="1666112"/>
                  </a:cubicBezTo>
                  <a:cubicBezTo>
                    <a:pt x="178519" y="1375715"/>
                    <a:pt x="283291" y="1085318"/>
                    <a:pt x="389407" y="793576"/>
                  </a:cubicBezTo>
                  <a:cubicBezTo>
                    <a:pt x="427018" y="690055"/>
                    <a:pt x="475374" y="575778"/>
                    <a:pt x="565371" y="507212"/>
                  </a:cubicBezTo>
                  <a:cubicBezTo>
                    <a:pt x="625817" y="461501"/>
                    <a:pt x="702381" y="446713"/>
                    <a:pt x="765513" y="406380"/>
                  </a:cubicBezTo>
                  <a:cubicBezTo>
                    <a:pt x="965655" y="277314"/>
                    <a:pt x="1116098" y="111949"/>
                    <a:pt x="1352508" y="3935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29" name="Google Shape;329;p17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2">
  <p:cSld name="CUSTOM_7_1_1">
    <p:spTree>
      <p:nvGrpSpPr>
        <p:cNvPr id="1" name="Shape 3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1" name="Google Shape;331;p18"/>
          <p:cNvGrpSpPr/>
          <p:nvPr/>
        </p:nvGrpSpPr>
        <p:grpSpPr>
          <a:xfrm>
            <a:off x="-495075" y="-1379199"/>
            <a:ext cx="14843128" cy="10956483"/>
            <a:chOff x="-371306" y="-1034399"/>
            <a:chExt cx="11132346" cy="8217362"/>
          </a:xfrm>
        </p:grpSpPr>
        <p:grpSp>
          <p:nvGrpSpPr>
            <p:cNvPr id="332" name="Google Shape;332;p18"/>
            <p:cNvGrpSpPr/>
            <p:nvPr/>
          </p:nvGrpSpPr>
          <p:grpSpPr>
            <a:xfrm rot="8699549">
              <a:off x="8479509" y="796222"/>
              <a:ext cx="1962417" cy="1731397"/>
              <a:chOff x="6730953" y="3918493"/>
              <a:chExt cx="1962362" cy="1731348"/>
            </a:xfrm>
          </p:grpSpPr>
          <p:sp>
            <p:nvSpPr>
              <p:cNvPr id="333" name="Google Shape;333;p18"/>
              <p:cNvSpPr/>
              <p:nvPr/>
            </p:nvSpPr>
            <p:spPr>
              <a:xfrm>
                <a:off x="7606240" y="3993966"/>
                <a:ext cx="989494" cy="733535"/>
              </a:xfrm>
              <a:custGeom>
                <a:avLst/>
                <a:gdLst/>
                <a:ahLst/>
                <a:cxnLst/>
                <a:rect l="l" t="t" r="r" b="b"/>
                <a:pathLst>
                  <a:path w="989494" h="733535" extrusionOk="0">
                    <a:moveTo>
                      <a:pt x="248676" y="549786"/>
                    </a:moveTo>
                    <a:cubicBezTo>
                      <a:pt x="374940" y="588774"/>
                      <a:pt x="481056" y="704395"/>
                      <a:pt x="607321" y="729940"/>
                    </a:cubicBezTo>
                    <a:cubicBezTo>
                      <a:pt x="694631" y="747417"/>
                      <a:pt x="784628" y="699018"/>
                      <a:pt x="842387" y="631796"/>
                    </a:cubicBezTo>
                    <a:cubicBezTo>
                      <a:pt x="898803" y="565919"/>
                      <a:pt x="1010291" y="376354"/>
                      <a:pt x="986113" y="284933"/>
                    </a:cubicBezTo>
                    <a:cubicBezTo>
                      <a:pt x="957905" y="182756"/>
                      <a:pt x="832985" y="178723"/>
                      <a:pt x="745674" y="130323"/>
                    </a:cubicBezTo>
                    <a:cubicBezTo>
                      <a:pt x="585829" y="42935"/>
                      <a:pt x="459564" y="-39076"/>
                      <a:pt x="267481" y="20080"/>
                    </a:cubicBezTo>
                    <a:cubicBezTo>
                      <a:pt x="119725" y="65790"/>
                      <a:pt x="-15941" y="198889"/>
                      <a:pt x="1521" y="365598"/>
                    </a:cubicBezTo>
                    <a:cubicBezTo>
                      <a:pt x="16296" y="526930"/>
                      <a:pt x="121069" y="509453"/>
                      <a:pt x="248676" y="54978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4" name="Google Shape;334;p18"/>
              <p:cNvSpPr/>
              <p:nvPr/>
            </p:nvSpPr>
            <p:spPr>
              <a:xfrm>
                <a:off x="7374821" y="4790720"/>
                <a:ext cx="983997" cy="859121"/>
              </a:xfrm>
              <a:custGeom>
                <a:avLst/>
                <a:gdLst/>
                <a:ahLst/>
                <a:cxnLst/>
                <a:rect l="l" t="t" r="r" b="b"/>
                <a:pathLst>
                  <a:path w="983997" h="859121" extrusionOk="0">
                    <a:moveTo>
                      <a:pt x="664119" y="406"/>
                    </a:moveTo>
                    <a:cubicBezTo>
                      <a:pt x="462633" y="-7660"/>
                      <a:pt x="261148" y="105272"/>
                      <a:pt x="133540" y="255849"/>
                    </a:cubicBezTo>
                    <a:cubicBezTo>
                      <a:pt x="23395" y="384914"/>
                      <a:pt x="-54513" y="574479"/>
                      <a:pt x="47573" y="730433"/>
                    </a:cubicBezTo>
                    <a:cubicBezTo>
                      <a:pt x="232940" y="1016797"/>
                      <a:pt x="502931" y="751944"/>
                      <a:pt x="696357" y="639012"/>
                    </a:cubicBezTo>
                    <a:cubicBezTo>
                      <a:pt x="748743" y="609434"/>
                      <a:pt x="805159" y="586579"/>
                      <a:pt x="853515" y="550279"/>
                    </a:cubicBezTo>
                    <a:cubicBezTo>
                      <a:pt x="1108730" y="356681"/>
                      <a:pt x="959631" y="11162"/>
                      <a:pt x="664119" y="406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5" name="Google Shape;335;p18"/>
              <p:cNvSpPr/>
              <p:nvPr/>
            </p:nvSpPr>
            <p:spPr>
              <a:xfrm>
                <a:off x="6866202" y="4524993"/>
                <a:ext cx="679468" cy="589657"/>
              </a:xfrm>
              <a:custGeom>
                <a:avLst/>
                <a:gdLst/>
                <a:ahLst/>
                <a:cxnLst/>
                <a:rect l="l" t="t" r="r" b="b"/>
                <a:pathLst>
                  <a:path w="679468" h="589657" extrusionOk="0">
                    <a:moveTo>
                      <a:pt x="515895" y="353522"/>
                    </a:moveTo>
                    <a:cubicBezTo>
                      <a:pt x="549476" y="319911"/>
                      <a:pt x="612608" y="346800"/>
                      <a:pt x="647532" y="309156"/>
                    </a:cubicBezTo>
                    <a:cubicBezTo>
                      <a:pt x="694546" y="259412"/>
                      <a:pt x="683800" y="169335"/>
                      <a:pt x="652905" y="112869"/>
                    </a:cubicBezTo>
                    <a:cubicBezTo>
                      <a:pt x="592460" y="1281"/>
                      <a:pt x="294261" y="-52497"/>
                      <a:pt x="241875" y="69847"/>
                    </a:cubicBezTo>
                    <a:cubicBezTo>
                      <a:pt x="65911" y="124969"/>
                      <a:pt x="-38862" y="213701"/>
                      <a:pt x="13524" y="349489"/>
                    </a:cubicBezTo>
                    <a:cubicBezTo>
                      <a:pt x="83373" y="525609"/>
                      <a:pt x="419182" y="728618"/>
                      <a:pt x="497090" y="458388"/>
                    </a:cubicBezTo>
                    <a:cubicBezTo>
                      <a:pt x="509179" y="418055"/>
                      <a:pt x="482314" y="385788"/>
                      <a:pt x="515895" y="35352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6" name="Google Shape;336;p18"/>
              <p:cNvSpPr/>
              <p:nvPr/>
            </p:nvSpPr>
            <p:spPr>
              <a:xfrm>
                <a:off x="7018173" y="3918493"/>
                <a:ext cx="450521" cy="468166"/>
              </a:xfrm>
              <a:custGeom>
                <a:avLst/>
                <a:gdLst/>
                <a:ahLst/>
                <a:cxnLst/>
                <a:rect l="l" t="t" r="r" b="b"/>
                <a:pathLst>
                  <a:path w="450521" h="468166" extrusionOk="0">
                    <a:moveTo>
                      <a:pt x="134230" y="450483"/>
                    </a:moveTo>
                    <a:cubicBezTo>
                      <a:pt x="221541" y="486782"/>
                      <a:pt x="343775" y="466616"/>
                      <a:pt x="409594" y="395361"/>
                    </a:cubicBezTo>
                    <a:cubicBezTo>
                      <a:pt x="506307" y="291839"/>
                      <a:pt x="418996" y="48498"/>
                      <a:pt x="279300" y="8165"/>
                    </a:cubicBezTo>
                    <a:cubicBezTo>
                      <a:pt x="181244" y="-20069"/>
                      <a:pt x="80501" y="28331"/>
                      <a:pt x="50950" y="100930"/>
                    </a:cubicBezTo>
                    <a:cubicBezTo>
                      <a:pt x="-55166" y="193696"/>
                      <a:pt x="20055" y="403427"/>
                      <a:pt x="134230" y="450483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7" name="Google Shape;337;p18"/>
              <p:cNvSpPr/>
              <p:nvPr/>
            </p:nvSpPr>
            <p:spPr>
              <a:xfrm>
                <a:off x="6757659" y="5205962"/>
                <a:ext cx="435900" cy="342612"/>
              </a:xfrm>
              <a:custGeom>
                <a:avLst/>
                <a:gdLst/>
                <a:ahLst/>
                <a:cxnLst/>
                <a:rect l="l" t="t" r="r" b="b"/>
                <a:pathLst>
                  <a:path w="435900" h="342612" extrusionOk="0">
                    <a:moveTo>
                      <a:pt x="95203" y="12694"/>
                    </a:moveTo>
                    <a:cubicBezTo>
                      <a:pt x="-43151" y="-4784"/>
                      <a:pt x="-9570" y="195536"/>
                      <a:pt x="62965" y="256036"/>
                    </a:cubicBezTo>
                    <a:cubicBezTo>
                      <a:pt x="132813" y="315191"/>
                      <a:pt x="400117" y="409301"/>
                      <a:pt x="433698" y="270825"/>
                    </a:cubicBezTo>
                    <a:cubicBezTo>
                      <a:pt x="459220" y="161926"/>
                      <a:pt x="257734" y="-54528"/>
                      <a:pt x="95203" y="1269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8" name="Google Shape;338;p18"/>
              <p:cNvSpPr/>
              <p:nvPr/>
            </p:nvSpPr>
            <p:spPr>
              <a:xfrm>
                <a:off x="6730953" y="4336971"/>
                <a:ext cx="250183" cy="225252"/>
              </a:xfrm>
              <a:custGeom>
                <a:avLst/>
                <a:gdLst/>
                <a:ahLst/>
                <a:cxnLst/>
                <a:rect l="l" t="t" r="r" b="b"/>
                <a:pathLst>
                  <a:path w="250183" h="225252" extrusionOk="0">
                    <a:moveTo>
                      <a:pt x="189071" y="210814"/>
                    </a:moveTo>
                    <a:cubicBezTo>
                      <a:pt x="281754" y="169137"/>
                      <a:pt x="258919" y="73682"/>
                      <a:pt x="187728" y="21249"/>
                    </a:cubicBezTo>
                    <a:lnTo>
                      <a:pt x="131312" y="2427"/>
                    </a:lnTo>
                    <a:cubicBezTo>
                      <a:pt x="-90323" y="-31184"/>
                      <a:pt x="-4355" y="296858"/>
                      <a:pt x="189071" y="210814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39" name="Google Shape;339;p18"/>
              <p:cNvSpPr/>
              <p:nvPr/>
            </p:nvSpPr>
            <p:spPr>
              <a:xfrm>
                <a:off x="8380179" y="4687148"/>
                <a:ext cx="313136" cy="349966"/>
              </a:xfrm>
              <a:custGeom>
                <a:avLst/>
                <a:gdLst/>
                <a:ahLst/>
                <a:cxnLst/>
                <a:rect l="l" t="t" r="r" b="b"/>
                <a:pathLst>
                  <a:path w="313136" h="349966" extrusionOk="0">
                    <a:moveTo>
                      <a:pt x="177250" y="1802"/>
                    </a:moveTo>
                    <a:cubicBezTo>
                      <a:pt x="138296" y="-6265"/>
                      <a:pt x="126207" y="13902"/>
                      <a:pt x="100685" y="39446"/>
                    </a:cubicBezTo>
                    <a:cubicBezTo>
                      <a:pt x="65761" y="69023"/>
                      <a:pt x="21434" y="66335"/>
                      <a:pt x="5316" y="142967"/>
                    </a:cubicBezTo>
                    <a:cubicBezTo>
                      <a:pt x="-14833" y="237077"/>
                      <a:pt x="21434" y="332532"/>
                      <a:pt x="128893" y="348665"/>
                    </a:cubicBezTo>
                    <a:cubicBezTo>
                      <a:pt x="224263" y="363454"/>
                      <a:pt x="318290" y="249177"/>
                      <a:pt x="312916" y="157756"/>
                    </a:cubicBezTo>
                    <a:cubicBezTo>
                      <a:pt x="310230" y="98601"/>
                      <a:pt x="236352" y="15246"/>
                      <a:pt x="177250" y="1802"/>
                    </a:cubicBezTo>
                    <a:close/>
                  </a:path>
                </a:pathLst>
              </a:custGeom>
              <a:solidFill>
                <a:schemeClr val="accen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sp>
          <p:nvSpPr>
            <p:cNvPr id="340" name="Google Shape;340;p18"/>
            <p:cNvSpPr/>
            <p:nvPr/>
          </p:nvSpPr>
          <p:spPr>
            <a:xfrm rot="-5400000" flipH="1">
              <a:off x="-1228978" y="-176727"/>
              <a:ext cx="3147793" cy="1432450"/>
            </a:xfrm>
            <a:custGeom>
              <a:avLst/>
              <a:gdLst/>
              <a:ahLst/>
              <a:cxnLst/>
              <a:rect l="l" t="t" r="r" b="b"/>
              <a:pathLst>
                <a:path w="3147793" h="1432450" extrusionOk="0">
                  <a:moveTo>
                    <a:pt x="5" y="0"/>
                  </a:moveTo>
                  <a:cubicBezTo>
                    <a:pt x="2095" y="60948"/>
                    <a:pt x="4029" y="117787"/>
                    <a:pt x="7248" y="166108"/>
                  </a:cubicBezTo>
                  <a:cubicBezTo>
                    <a:pt x="29386" y="498514"/>
                    <a:pt x="91176" y="997120"/>
                    <a:pt x="279439" y="1120824"/>
                  </a:cubicBezTo>
                  <a:cubicBezTo>
                    <a:pt x="428055" y="1218478"/>
                    <a:pt x="537675" y="984218"/>
                    <a:pt x="670878" y="1078596"/>
                  </a:cubicBezTo>
                  <a:cubicBezTo>
                    <a:pt x="761504" y="1142806"/>
                    <a:pt x="825150" y="1304908"/>
                    <a:pt x="906947" y="1373723"/>
                  </a:cubicBezTo>
                  <a:cubicBezTo>
                    <a:pt x="1052507" y="1496183"/>
                    <a:pt x="1363613" y="1443288"/>
                    <a:pt x="1394255" y="1060306"/>
                  </a:cubicBezTo>
                  <a:cubicBezTo>
                    <a:pt x="1413108" y="824675"/>
                    <a:pt x="1190755" y="687312"/>
                    <a:pt x="1259001" y="469483"/>
                  </a:cubicBezTo>
                  <a:cubicBezTo>
                    <a:pt x="1341121" y="207363"/>
                    <a:pt x="1572647" y="474074"/>
                    <a:pt x="1644740" y="604519"/>
                  </a:cubicBezTo>
                  <a:cubicBezTo>
                    <a:pt x="1781519" y="852008"/>
                    <a:pt x="1906539" y="966060"/>
                    <a:pt x="2075133" y="694563"/>
                  </a:cubicBezTo>
                  <a:cubicBezTo>
                    <a:pt x="2154300" y="567074"/>
                    <a:pt x="2290772" y="416377"/>
                    <a:pt x="2458298" y="458812"/>
                  </a:cubicBezTo>
                  <a:cubicBezTo>
                    <a:pt x="2596413" y="493799"/>
                    <a:pt x="2656130" y="606644"/>
                    <a:pt x="2704667" y="729647"/>
                  </a:cubicBezTo>
                  <a:cubicBezTo>
                    <a:pt x="2743050" y="826923"/>
                    <a:pt x="2809757" y="868433"/>
                    <a:pt x="2928732" y="892891"/>
                  </a:cubicBezTo>
                  <a:cubicBezTo>
                    <a:pt x="3109223" y="929997"/>
                    <a:pt x="3127813" y="753080"/>
                    <a:pt x="3139828" y="643479"/>
                  </a:cubicBezTo>
                  <a:cubicBezTo>
                    <a:pt x="3159032" y="468291"/>
                    <a:pt x="3137743" y="292715"/>
                    <a:pt x="3135853" y="117323"/>
                  </a:cubicBezTo>
                  <a:cubicBezTo>
                    <a:pt x="3135414" y="76647"/>
                    <a:pt x="3136034" y="37879"/>
                    <a:pt x="3137189" y="0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1" name="Google Shape;341;p18"/>
            <p:cNvSpPr/>
            <p:nvPr/>
          </p:nvSpPr>
          <p:spPr>
            <a:xfrm rot="7863080">
              <a:off x="6201038" y="4355129"/>
              <a:ext cx="2173425" cy="2424432"/>
            </a:xfrm>
            <a:custGeom>
              <a:avLst/>
              <a:gdLst/>
              <a:ahLst/>
              <a:cxnLst/>
              <a:rect l="l" t="t" r="r" b="b"/>
              <a:pathLst>
                <a:path w="2170896" h="2421611" extrusionOk="0">
                  <a:moveTo>
                    <a:pt x="227233" y="412741"/>
                  </a:moveTo>
                  <a:cubicBezTo>
                    <a:pt x="145295" y="572728"/>
                    <a:pt x="-41414" y="833548"/>
                    <a:pt x="8286" y="1060757"/>
                  </a:cubicBezTo>
                  <a:cubicBezTo>
                    <a:pt x="60672" y="1293343"/>
                    <a:pt x="327976" y="1302754"/>
                    <a:pt x="440807" y="1433164"/>
                  </a:cubicBezTo>
                  <a:cubicBezTo>
                    <a:pt x="538864" y="1547441"/>
                    <a:pt x="540207" y="1712806"/>
                    <a:pt x="623488" y="1862038"/>
                  </a:cubicBezTo>
                  <a:cubicBezTo>
                    <a:pt x="804825" y="2184702"/>
                    <a:pt x="1163470" y="2393089"/>
                    <a:pt x="1449579" y="2419977"/>
                  </a:cubicBezTo>
                  <a:cubicBezTo>
                    <a:pt x="1649721" y="2438800"/>
                    <a:pt x="1825685" y="2289568"/>
                    <a:pt x="2024484" y="2254612"/>
                  </a:cubicBezTo>
                  <a:cubicBezTo>
                    <a:pt x="2064781" y="2247890"/>
                    <a:pt x="2115824" y="2238479"/>
                    <a:pt x="2170897" y="2229068"/>
                  </a:cubicBezTo>
                  <a:lnTo>
                    <a:pt x="2170897" y="0"/>
                  </a:lnTo>
                  <a:lnTo>
                    <a:pt x="384392" y="0"/>
                  </a:lnTo>
                  <a:cubicBezTo>
                    <a:pt x="353497" y="139821"/>
                    <a:pt x="297082" y="275609"/>
                    <a:pt x="227233" y="41274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42" name="Google Shape;342;p18"/>
          <p:cNvGrpSpPr/>
          <p:nvPr/>
        </p:nvGrpSpPr>
        <p:grpSpPr>
          <a:xfrm>
            <a:off x="-612785" y="-2064274"/>
            <a:ext cx="10337695" cy="10553985"/>
            <a:chOff x="-459588" y="-1548206"/>
            <a:chExt cx="7753271" cy="7915489"/>
          </a:xfrm>
        </p:grpSpPr>
        <p:sp>
          <p:nvSpPr>
            <p:cNvPr id="343" name="Google Shape;343;p18"/>
            <p:cNvSpPr/>
            <p:nvPr/>
          </p:nvSpPr>
          <p:spPr>
            <a:xfrm rot="10800000" flipH="1">
              <a:off x="4260644" y="-1548206"/>
              <a:ext cx="3033038" cy="2033186"/>
            </a:xfrm>
            <a:custGeom>
              <a:avLst/>
              <a:gdLst/>
              <a:ahLst/>
              <a:cxnLst/>
              <a:rect l="l" t="t" r="r" b="b"/>
              <a:pathLst>
                <a:path w="3033038" h="2033186" extrusionOk="0">
                  <a:moveTo>
                    <a:pt x="2145958" y="2033187"/>
                  </a:moveTo>
                  <a:cubicBezTo>
                    <a:pt x="2068050" y="2033187"/>
                    <a:pt x="2008947" y="2010332"/>
                    <a:pt x="1971337" y="1965965"/>
                  </a:cubicBezTo>
                  <a:cubicBezTo>
                    <a:pt x="1918951" y="1904122"/>
                    <a:pt x="1924324" y="1820767"/>
                    <a:pt x="1929696" y="1741446"/>
                  </a:cubicBezTo>
                  <a:cubicBezTo>
                    <a:pt x="1935069" y="1666157"/>
                    <a:pt x="1940443" y="1594903"/>
                    <a:pt x="1898802" y="1545158"/>
                  </a:cubicBezTo>
                  <a:cubicBezTo>
                    <a:pt x="1884027" y="1527681"/>
                    <a:pt x="1863878" y="1514237"/>
                    <a:pt x="1834327" y="1499448"/>
                  </a:cubicBezTo>
                  <a:cubicBezTo>
                    <a:pt x="1640901" y="1403993"/>
                    <a:pt x="1400461" y="1460459"/>
                    <a:pt x="1237930" y="1511548"/>
                  </a:cubicBezTo>
                  <a:cubicBezTo>
                    <a:pt x="1205692" y="1520959"/>
                    <a:pt x="1174798" y="1531714"/>
                    <a:pt x="1142560" y="1542469"/>
                  </a:cubicBezTo>
                  <a:cubicBezTo>
                    <a:pt x="974655" y="1597591"/>
                    <a:pt x="800034" y="1655402"/>
                    <a:pt x="620041" y="1640613"/>
                  </a:cubicBezTo>
                  <a:cubicBezTo>
                    <a:pt x="296321" y="1613724"/>
                    <a:pt x="19614" y="1328705"/>
                    <a:pt x="809" y="1004697"/>
                  </a:cubicBezTo>
                  <a:cubicBezTo>
                    <a:pt x="-4564" y="898487"/>
                    <a:pt x="16927" y="804376"/>
                    <a:pt x="62597" y="733122"/>
                  </a:cubicBezTo>
                  <a:cubicBezTo>
                    <a:pt x="119014" y="645734"/>
                    <a:pt x="215727" y="594645"/>
                    <a:pt x="308410" y="602712"/>
                  </a:cubicBezTo>
                  <a:cubicBezTo>
                    <a:pt x="370199" y="608089"/>
                    <a:pt x="425271" y="637667"/>
                    <a:pt x="474971" y="664556"/>
                  </a:cubicBezTo>
                  <a:lnTo>
                    <a:pt x="687203" y="778832"/>
                  </a:lnTo>
                  <a:cubicBezTo>
                    <a:pt x="763767" y="819165"/>
                    <a:pt x="841675" y="854120"/>
                    <a:pt x="907493" y="823198"/>
                  </a:cubicBezTo>
                  <a:cubicBezTo>
                    <a:pt x="1002863" y="777488"/>
                    <a:pt x="990774" y="632289"/>
                    <a:pt x="953164" y="544901"/>
                  </a:cubicBezTo>
                  <a:cubicBezTo>
                    <a:pt x="942417" y="519357"/>
                    <a:pt x="928985" y="495157"/>
                    <a:pt x="916896" y="469613"/>
                  </a:cubicBezTo>
                  <a:cubicBezTo>
                    <a:pt x="876599" y="388947"/>
                    <a:pt x="834959" y="305592"/>
                    <a:pt x="845705" y="212826"/>
                  </a:cubicBezTo>
                  <a:cubicBezTo>
                    <a:pt x="856450" y="118716"/>
                    <a:pt x="927642" y="34017"/>
                    <a:pt x="1018982" y="8473"/>
                  </a:cubicBezTo>
                  <a:cubicBezTo>
                    <a:pt x="1110322" y="-17072"/>
                    <a:pt x="1215095" y="16539"/>
                    <a:pt x="1274197" y="90483"/>
                  </a:cubicBezTo>
                  <a:cubicBezTo>
                    <a:pt x="1338672" y="171149"/>
                    <a:pt x="1342702" y="281392"/>
                    <a:pt x="1341359" y="387602"/>
                  </a:cubicBezTo>
                  <a:cubicBezTo>
                    <a:pt x="1340016" y="480368"/>
                    <a:pt x="1338672" y="585234"/>
                    <a:pt x="1393745" y="661867"/>
                  </a:cubicBezTo>
                  <a:cubicBezTo>
                    <a:pt x="1421953" y="702199"/>
                    <a:pt x="1478369" y="729088"/>
                    <a:pt x="1529412" y="726399"/>
                  </a:cubicBezTo>
                  <a:cubicBezTo>
                    <a:pt x="1565679" y="725055"/>
                    <a:pt x="1593887" y="710266"/>
                    <a:pt x="1611350" y="683377"/>
                  </a:cubicBezTo>
                  <a:cubicBezTo>
                    <a:pt x="1644931" y="629600"/>
                    <a:pt x="1619409" y="557001"/>
                    <a:pt x="1596574" y="491124"/>
                  </a:cubicBezTo>
                  <a:lnTo>
                    <a:pt x="1595231" y="485746"/>
                  </a:lnTo>
                  <a:cubicBezTo>
                    <a:pt x="1573739" y="425247"/>
                    <a:pt x="1549561" y="315003"/>
                    <a:pt x="1623439" y="257193"/>
                  </a:cubicBezTo>
                  <a:cubicBezTo>
                    <a:pt x="1655676" y="231648"/>
                    <a:pt x="1695973" y="226271"/>
                    <a:pt x="1736270" y="241059"/>
                  </a:cubicBezTo>
                  <a:cubicBezTo>
                    <a:pt x="1799403" y="263915"/>
                    <a:pt x="1857162" y="331137"/>
                    <a:pt x="1873281" y="402391"/>
                  </a:cubicBezTo>
                  <a:cubicBezTo>
                    <a:pt x="1881340" y="440035"/>
                    <a:pt x="1885370" y="479024"/>
                    <a:pt x="1888056" y="516668"/>
                  </a:cubicBezTo>
                  <a:cubicBezTo>
                    <a:pt x="1893429" y="581201"/>
                    <a:pt x="1897459" y="643045"/>
                    <a:pt x="1929696" y="694133"/>
                  </a:cubicBezTo>
                  <a:cubicBezTo>
                    <a:pt x="1940443" y="710266"/>
                    <a:pt x="1951188" y="721022"/>
                    <a:pt x="1961934" y="725055"/>
                  </a:cubicBezTo>
                  <a:cubicBezTo>
                    <a:pt x="1986113" y="733122"/>
                    <a:pt x="2017007" y="715644"/>
                    <a:pt x="2051931" y="671278"/>
                  </a:cubicBezTo>
                  <a:cubicBezTo>
                    <a:pt x="2069393" y="649767"/>
                    <a:pt x="2088199" y="625567"/>
                    <a:pt x="2105661" y="602712"/>
                  </a:cubicBezTo>
                  <a:cubicBezTo>
                    <a:pt x="2264162" y="399702"/>
                    <a:pt x="2442813" y="169805"/>
                    <a:pt x="2736982" y="242404"/>
                  </a:cubicBezTo>
                  <a:cubicBezTo>
                    <a:pt x="2839068" y="267948"/>
                    <a:pt x="2931751" y="340547"/>
                    <a:pt x="2985481" y="438691"/>
                  </a:cubicBezTo>
                  <a:cubicBezTo>
                    <a:pt x="3035181" y="527423"/>
                    <a:pt x="3045926" y="624223"/>
                    <a:pt x="3017718" y="711611"/>
                  </a:cubicBezTo>
                  <a:cubicBezTo>
                    <a:pt x="2992197" y="789588"/>
                    <a:pt x="2938467" y="856809"/>
                    <a:pt x="2886081" y="921342"/>
                  </a:cubicBezTo>
                  <a:cubicBezTo>
                    <a:pt x="2817576" y="1007386"/>
                    <a:pt x="2753101" y="1086707"/>
                    <a:pt x="2755787" y="1187539"/>
                  </a:cubicBezTo>
                  <a:cubicBezTo>
                    <a:pt x="2758474" y="1248039"/>
                    <a:pt x="2786682" y="1305850"/>
                    <a:pt x="2814889" y="1362316"/>
                  </a:cubicBezTo>
                  <a:cubicBezTo>
                    <a:pt x="2849814" y="1434915"/>
                    <a:pt x="2887425" y="1510203"/>
                    <a:pt x="2873992" y="1592214"/>
                  </a:cubicBezTo>
                  <a:cubicBezTo>
                    <a:pt x="2860560" y="1671535"/>
                    <a:pt x="2801457" y="1732034"/>
                    <a:pt x="2758474" y="1772367"/>
                  </a:cubicBezTo>
                  <a:cubicBezTo>
                    <a:pt x="2609374" y="1910844"/>
                    <a:pt x="2415948" y="2002265"/>
                    <a:pt x="2214463" y="2029154"/>
                  </a:cubicBezTo>
                  <a:cubicBezTo>
                    <a:pt x="2191628" y="2030498"/>
                    <a:pt x="2168793" y="2033187"/>
                    <a:pt x="2145958" y="2033187"/>
                  </a:cubicBezTo>
                  <a:close/>
                  <a:moveTo>
                    <a:pt x="1596574" y="1406682"/>
                  </a:moveTo>
                  <a:cubicBezTo>
                    <a:pt x="1718809" y="1406682"/>
                    <a:pt x="1796716" y="1434915"/>
                    <a:pt x="1853132" y="1463148"/>
                  </a:cubicBezTo>
                  <a:cubicBezTo>
                    <a:pt x="1874624" y="1473904"/>
                    <a:pt x="1906862" y="1491381"/>
                    <a:pt x="1929696" y="1519614"/>
                  </a:cubicBezTo>
                  <a:cubicBezTo>
                    <a:pt x="1982083" y="1581458"/>
                    <a:pt x="1976710" y="1664813"/>
                    <a:pt x="1969994" y="1744134"/>
                  </a:cubicBezTo>
                  <a:cubicBezTo>
                    <a:pt x="1964621" y="1819422"/>
                    <a:pt x="1959248" y="1890678"/>
                    <a:pt x="2002231" y="1940421"/>
                  </a:cubicBezTo>
                  <a:cubicBezTo>
                    <a:pt x="2041185" y="1986132"/>
                    <a:pt x="2111033" y="2002265"/>
                    <a:pt x="2210433" y="1987476"/>
                  </a:cubicBezTo>
                  <a:cubicBezTo>
                    <a:pt x="2403859" y="1960588"/>
                    <a:pt x="2589226" y="1873200"/>
                    <a:pt x="2732952" y="1740101"/>
                  </a:cubicBezTo>
                  <a:cubicBezTo>
                    <a:pt x="2771906" y="1705146"/>
                    <a:pt x="2824292" y="1650024"/>
                    <a:pt x="2835038" y="1582802"/>
                  </a:cubicBezTo>
                  <a:cubicBezTo>
                    <a:pt x="2847127" y="1512892"/>
                    <a:pt x="2814889" y="1447015"/>
                    <a:pt x="2779966" y="1377104"/>
                  </a:cubicBezTo>
                  <a:cubicBezTo>
                    <a:pt x="2750414" y="1316605"/>
                    <a:pt x="2719520" y="1253417"/>
                    <a:pt x="2716833" y="1186195"/>
                  </a:cubicBezTo>
                  <a:cubicBezTo>
                    <a:pt x="2712804" y="1070574"/>
                    <a:pt x="2785338" y="980497"/>
                    <a:pt x="2855187" y="893109"/>
                  </a:cubicBezTo>
                  <a:cubicBezTo>
                    <a:pt x="2904886" y="831265"/>
                    <a:pt x="2955929" y="768077"/>
                    <a:pt x="2978764" y="696822"/>
                  </a:cubicBezTo>
                  <a:cubicBezTo>
                    <a:pt x="3004286" y="620189"/>
                    <a:pt x="2993540" y="535490"/>
                    <a:pt x="2949213" y="456169"/>
                  </a:cubicBezTo>
                  <a:cubicBezTo>
                    <a:pt x="2900857" y="367436"/>
                    <a:pt x="2816233" y="301559"/>
                    <a:pt x="2726236" y="280048"/>
                  </a:cubicBezTo>
                  <a:lnTo>
                    <a:pt x="2726236" y="280048"/>
                  </a:lnTo>
                  <a:cubicBezTo>
                    <a:pt x="2457589" y="212826"/>
                    <a:pt x="2286998" y="431969"/>
                    <a:pt x="2136555" y="625567"/>
                  </a:cubicBezTo>
                  <a:cubicBezTo>
                    <a:pt x="2117750" y="649767"/>
                    <a:pt x="2100288" y="672622"/>
                    <a:pt x="2082825" y="694133"/>
                  </a:cubicBezTo>
                  <a:cubicBezTo>
                    <a:pt x="2065363" y="715644"/>
                    <a:pt x="2011634" y="782865"/>
                    <a:pt x="1947159" y="760010"/>
                  </a:cubicBezTo>
                  <a:cubicBezTo>
                    <a:pt x="1927010" y="753288"/>
                    <a:pt x="1909548" y="737155"/>
                    <a:pt x="1893429" y="711611"/>
                  </a:cubicBezTo>
                  <a:cubicBezTo>
                    <a:pt x="1857162" y="652456"/>
                    <a:pt x="1851789" y="582545"/>
                    <a:pt x="1846416" y="516668"/>
                  </a:cubicBezTo>
                  <a:cubicBezTo>
                    <a:pt x="1843729" y="480368"/>
                    <a:pt x="1841043" y="442724"/>
                    <a:pt x="1832984" y="409113"/>
                  </a:cubicBezTo>
                  <a:cubicBezTo>
                    <a:pt x="1819551" y="351303"/>
                    <a:pt x="1771195" y="294837"/>
                    <a:pt x="1721495" y="276015"/>
                  </a:cubicBezTo>
                  <a:cubicBezTo>
                    <a:pt x="1693287" y="266604"/>
                    <a:pt x="1667765" y="269293"/>
                    <a:pt x="1646273" y="285426"/>
                  </a:cubicBezTo>
                  <a:cubicBezTo>
                    <a:pt x="1592544" y="327103"/>
                    <a:pt x="1614036" y="418525"/>
                    <a:pt x="1631498" y="469613"/>
                  </a:cubicBezTo>
                  <a:lnTo>
                    <a:pt x="1632841" y="474991"/>
                  </a:lnTo>
                  <a:cubicBezTo>
                    <a:pt x="1657020" y="544901"/>
                    <a:pt x="1686571" y="632289"/>
                    <a:pt x="1643587" y="700855"/>
                  </a:cubicBezTo>
                  <a:cubicBezTo>
                    <a:pt x="1619409" y="738499"/>
                    <a:pt x="1579112" y="761355"/>
                    <a:pt x="1529412" y="762699"/>
                  </a:cubicBezTo>
                  <a:cubicBezTo>
                    <a:pt x="1464937" y="765388"/>
                    <a:pt x="1396432" y="731777"/>
                    <a:pt x="1360164" y="680689"/>
                  </a:cubicBezTo>
                  <a:cubicBezTo>
                    <a:pt x="1297032" y="593301"/>
                    <a:pt x="1298375" y="476335"/>
                    <a:pt x="1299719" y="382225"/>
                  </a:cubicBezTo>
                  <a:cubicBezTo>
                    <a:pt x="1301062" y="284081"/>
                    <a:pt x="1297032" y="181905"/>
                    <a:pt x="1240616" y="110649"/>
                  </a:cubicBezTo>
                  <a:cubicBezTo>
                    <a:pt x="1190916" y="48806"/>
                    <a:pt x="1103606" y="20573"/>
                    <a:pt x="1028385" y="42084"/>
                  </a:cubicBezTo>
                  <a:cubicBezTo>
                    <a:pt x="951820" y="63594"/>
                    <a:pt x="892718" y="133505"/>
                    <a:pt x="884658" y="212826"/>
                  </a:cubicBezTo>
                  <a:cubicBezTo>
                    <a:pt x="875256" y="293492"/>
                    <a:pt x="912867" y="367436"/>
                    <a:pt x="951820" y="446757"/>
                  </a:cubicBezTo>
                  <a:cubicBezTo>
                    <a:pt x="963909" y="472302"/>
                    <a:pt x="977342" y="497846"/>
                    <a:pt x="988087" y="523390"/>
                  </a:cubicBezTo>
                  <a:cubicBezTo>
                    <a:pt x="1057936" y="684722"/>
                    <a:pt x="1006893" y="815132"/>
                    <a:pt x="923612" y="854120"/>
                  </a:cubicBezTo>
                  <a:cubicBezTo>
                    <a:pt x="843018" y="893109"/>
                    <a:pt x="753021" y="855465"/>
                    <a:pt x="667054" y="809754"/>
                  </a:cubicBezTo>
                  <a:lnTo>
                    <a:pt x="454823" y="695477"/>
                  </a:lnTo>
                  <a:cubicBezTo>
                    <a:pt x="409153" y="671278"/>
                    <a:pt x="358110" y="643045"/>
                    <a:pt x="304380" y="639011"/>
                  </a:cubicBezTo>
                  <a:cubicBezTo>
                    <a:pt x="226472" y="632289"/>
                    <a:pt x="144535" y="676655"/>
                    <a:pt x="96178" y="751944"/>
                  </a:cubicBezTo>
                  <a:cubicBezTo>
                    <a:pt x="43792" y="832610"/>
                    <a:pt x="37076" y="930753"/>
                    <a:pt x="39762" y="999319"/>
                  </a:cubicBezTo>
                  <a:cubicBezTo>
                    <a:pt x="57225" y="1304505"/>
                    <a:pt x="317812" y="1572047"/>
                    <a:pt x="621384" y="1597591"/>
                  </a:cubicBezTo>
                  <a:cubicBezTo>
                    <a:pt x="791975" y="1612380"/>
                    <a:pt x="962566" y="1555914"/>
                    <a:pt x="1127784" y="1502136"/>
                  </a:cubicBezTo>
                  <a:cubicBezTo>
                    <a:pt x="1160022" y="1491381"/>
                    <a:pt x="1192260" y="1480626"/>
                    <a:pt x="1224497" y="1471215"/>
                  </a:cubicBezTo>
                  <a:cubicBezTo>
                    <a:pt x="1381656" y="1424160"/>
                    <a:pt x="1502547" y="1406682"/>
                    <a:pt x="1596574" y="140668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4" name="Google Shape;344;p18"/>
            <p:cNvSpPr/>
            <p:nvPr/>
          </p:nvSpPr>
          <p:spPr>
            <a:xfrm rot="10800000" flipH="1">
              <a:off x="-459588" y="4205949"/>
              <a:ext cx="2066222" cy="2161334"/>
            </a:xfrm>
            <a:custGeom>
              <a:avLst/>
              <a:gdLst/>
              <a:ahLst/>
              <a:cxnLst/>
              <a:rect l="l" t="t" r="r" b="b"/>
              <a:pathLst>
                <a:path w="2066222" h="2161334" extrusionOk="0">
                  <a:moveTo>
                    <a:pt x="337808" y="2161335"/>
                  </a:moveTo>
                  <a:cubicBezTo>
                    <a:pt x="321689" y="2161335"/>
                    <a:pt x="306913" y="2159990"/>
                    <a:pt x="290794" y="2155957"/>
                  </a:cubicBezTo>
                  <a:cubicBezTo>
                    <a:pt x="216916" y="2139824"/>
                    <a:pt x="149755" y="2086046"/>
                    <a:pt x="86623" y="1989247"/>
                  </a:cubicBezTo>
                  <a:cubicBezTo>
                    <a:pt x="7371" y="1868248"/>
                    <a:pt x="-18150" y="1753972"/>
                    <a:pt x="12745" y="1661206"/>
                  </a:cubicBezTo>
                  <a:cubicBezTo>
                    <a:pt x="67817" y="1495841"/>
                    <a:pt x="269303" y="1448786"/>
                    <a:pt x="383478" y="1435341"/>
                  </a:cubicBezTo>
                  <a:cubicBezTo>
                    <a:pt x="407656" y="1432653"/>
                    <a:pt x="433177" y="1429964"/>
                    <a:pt x="458699" y="1427275"/>
                  </a:cubicBezTo>
                  <a:cubicBezTo>
                    <a:pt x="576904" y="1415175"/>
                    <a:pt x="700482" y="1403075"/>
                    <a:pt x="790479" y="1333165"/>
                  </a:cubicBezTo>
                  <a:cubicBezTo>
                    <a:pt x="817343" y="1312998"/>
                    <a:pt x="836148" y="1290143"/>
                    <a:pt x="845551" y="1267287"/>
                  </a:cubicBezTo>
                  <a:cubicBezTo>
                    <a:pt x="872416" y="1202755"/>
                    <a:pt x="837492" y="1127467"/>
                    <a:pt x="803911" y="1053523"/>
                  </a:cubicBezTo>
                  <a:cubicBezTo>
                    <a:pt x="763614" y="964790"/>
                    <a:pt x="721973" y="873369"/>
                    <a:pt x="782419" y="796736"/>
                  </a:cubicBezTo>
                  <a:cubicBezTo>
                    <a:pt x="842865" y="720104"/>
                    <a:pt x="957040" y="733548"/>
                    <a:pt x="1044350" y="771192"/>
                  </a:cubicBezTo>
                  <a:cubicBezTo>
                    <a:pt x="1059126" y="777914"/>
                    <a:pt x="1073902" y="784636"/>
                    <a:pt x="1088677" y="791359"/>
                  </a:cubicBezTo>
                  <a:cubicBezTo>
                    <a:pt x="1153152" y="820936"/>
                    <a:pt x="1213598" y="850514"/>
                    <a:pt x="1275387" y="839758"/>
                  </a:cubicBezTo>
                  <a:cubicBezTo>
                    <a:pt x="1318371" y="833036"/>
                    <a:pt x="1353295" y="787325"/>
                    <a:pt x="1360011" y="749681"/>
                  </a:cubicBezTo>
                  <a:cubicBezTo>
                    <a:pt x="1364041" y="730859"/>
                    <a:pt x="1362697" y="705315"/>
                    <a:pt x="1337176" y="691871"/>
                  </a:cubicBezTo>
                  <a:cubicBezTo>
                    <a:pt x="1322400" y="683804"/>
                    <a:pt x="1304938" y="681115"/>
                    <a:pt x="1284790" y="678426"/>
                  </a:cubicBezTo>
                  <a:lnTo>
                    <a:pt x="1280760" y="678426"/>
                  </a:lnTo>
                  <a:cubicBezTo>
                    <a:pt x="1181360" y="666326"/>
                    <a:pt x="1111512" y="639438"/>
                    <a:pt x="1059126" y="595072"/>
                  </a:cubicBezTo>
                  <a:cubicBezTo>
                    <a:pt x="998680" y="543983"/>
                    <a:pt x="958383" y="448528"/>
                    <a:pt x="995994" y="366518"/>
                  </a:cubicBezTo>
                  <a:cubicBezTo>
                    <a:pt x="1040321" y="269719"/>
                    <a:pt x="1236433" y="77465"/>
                    <a:pt x="1334489" y="34443"/>
                  </a:cubicBezTo>
                  <a:cubicBezTo>
                    <a:pt x="1486275" y="-30089"/>
                    <a:pt x="1706566" y="-1856"/>
                    <a:pt x="1848949" y="101665"/>
                  </a:cubicBezTo>
                  <a:lnTo>
                    <a:pt x="1848949" y="101665"/>
                  </a:lnTo>
                  <a:cubicBezTo>
                    <a:pt x="2034316" y="236108"/>
                    <a:pt x="2094761" y="502306"/>
                    <a:pt x="1981930" y="682460"/>
                  </a:cubicBezTo>
                  <a:cubicBezTo>
                    <a:pt x="1973870" y="694560"/>
                    <a:pt x="1965811" y="706659"/>
                    <a:pt x="1957751" y="717415"/>
                  </a:cubicBezTo>
                  <a:cubicBezTo>
                    <a:pt x="1941633" y="740270"/>
                    <a:pt x="1926857" y="761781"/>
                    <a:pt x="1916111" y="785981"/>
                  </a:cubicBezTo>
                  <a:cubicBezTo>
                    <a:pt x="1879844" y="876058"/>
                    <a:pt x="1929543" y="968824"/>
                    <a:pt x="1981930" y="1066967"/>
                  </a:cubicBezTo>
                  <a:cubicBezTo>
                    <a:pt x="2034316" y="1165111"/>
                    <a:pt x="2088045" y="1267287"/>
                    <a:pt x="2057151" y="1372153"/>
                  </a:cubicBezTo>
                  <a:cubicBezTo>
                    <a:pt x="2030286" y="1464919"/>
                    <a:pt x="1944319" y="1525418"/>
                    <a:pt x="1858352" y="1577851"/>
                  </a:cubicBezTo>
                  <a:cubicBezTo>
                    <a:pt x="1710596" y="1669272"/>
                    <a:pt x="1538662" y="1752627"/>
                    <a:pt x="1388219" y="1678684"/>
                  </a:cubicBezTo>
                  <a:cubicBezTo>
                    <a:pt x="1358668" y="1663895"/>
                    <a:pt x="1329117" y="1643728"/>
                    <a:pt x="1302252" y="1623562"/>
                  </a:cubicBezTo>
                  <a:cubicBezTo>
                    <a:pt x="1247179" y="1583229"/>
                    <a:pt x="1194793" y="1544241"/>
                    <a:pt x="1138377" y="1561718"/>
                  </a:cubicBezTo>
                  <a:cubicBezTo>
                    <a:pt x="1095393" y="1573818"/>
                    <a:pt x="1067185" y="1616840"/>
                    <a:pt x="1038977" y="1657173"/>
                  </a:cubicBezTo>
                  <a:lnTo>
                    <a:pt x="1034948" y="1662550"/>
                  </a:lnTo>
                  <a:cubicBezTo>
                    <a:pt x="903310" y="1852115"/>
                    <a:pt x="724660" y="2005380"/>
                    <a:pt x="516458" y="2106213"/>
                  </a:cubicBezTo>
                  <a:cubicBezTo>
                    <a:pt x="466758" y="2135791"/>
                    <a:pt x="402283" y="2161335"/>
                    <a:pt x="337808" y="2161335"/>
                  </a:cubicBezTo>
                  <a:close/>
                  <a:moveTo>
                    <a:pt x="911370" y="783292"/>
                  </a:moveTo>
                  <a:cubicBezTo>
                    <a:pt x="872416" y="783292"/>
                    <a:pt x="836148" y="794047"/>
                    <a:pt x="813313" y="823625"/>
                  </a:cubicBezTo>
                  <a:cubicBezTo>
                    <a:pt x="767644" y="881436"/>
                    <a:pt x="801224" y="954035"/>
                    <a:pt x="838835" y="1038734"/>
                  </a:cubicBezTo>
                  <a:cubicBezTo>
                    <a:pt x="876446" y="1119400"/>
                    <a:pt x="914056" y="1204099"/>
                    <a:pt x="880475" y="1284765"/>
                  </a:cubicBezTo>
                  <a:cubicBezTo>
                    <a:pt x="868386" y="1314343"/>
                    <a:pt x="845551" y="1341231"/>
                    <a:pt x="813313" y="1366775"/>
                  </a:cubicBezTo>
                  <a:cubicBezTo>
                    <a:pt x="712571" y="1443408"/>
                    <a:pt x="584963" y="1456852"/>
                    <a:pt x="460042" y="1468952"/>
                  </a:cubicBezTo>
                  <a:cubicBezTo>
                    <a:pt x="435864" y="1471641"/>
                    <a:pt x="410342" y="1474330"/>
                    <a:pt x="386164" y="1477019"/>
                  </a:cubicBezTo>
                  <a:cubicBezTo>
                    <a:pt x="281392" y="1489119"/>
                    <a:pt x="97368" y="1532140"/>
                    <a:pt x="49012" y="1675995"/>
                  </a:cubicBezTo>
                  <a:cubicBezTo>
                    <a:pt x="14088" y="1778172"/>
                    <a:pt x="67817" y="1892448"/>
                    <a:pt x="117517" y="1969081"/>
                  </a:cubicBezTo>
                  <a:cubicBezTo>
                    <a:pt x="173933" y="2056469"/>
                    <a:pt x="233035" y="2104869"/>
                    <a:pt x="296167" y="2118313"/>
                  </a:cubicBezTo>
                  <a:cubicBezTo>
                    <a:pt x="366016" y="2133102"/>
                    <a:pt x="439894" y="2103524"/>
                    <a:pt x="497653" y="2076635"/>
                  </a:cubicBezTo>
                  <a:cubicBezTo>
                    <a:pt x="699138" y="1979836"/>
                    <a:pt x="873759" y="1830604"/>
                    <a:pt x="1000024" y="1646417"/>
                  </a:cubicBezTo>
                  <a:lnTo>
                    <a:pt x="1004053" y="1641040"/>
                  </a:lnTo>
                  <a:cubicBezTo>
                    <a:pt x="1034948" y="1596673"/>
                    <a:pt x="1069872" y="1546929"/>
                    <a:pt x="1124944" y="1529452"/>
                  </a:cubicBezTo>
                  <a:cubicBezTo>
                    <a:pt x="1200166" y="1506596"/>
                    <a:pt x="1263298" y="1553651"/>
                    <a:pt x="1323743" y="1598018"/>
                  </a:cubicBezTo>
                  <a:cubicBezTo>
                    <a:pt x="1349265" y="1616840"/>
                    <a:pt x="1377473" y="1637006"/>
                    <a:pt x="1404338" y="1650451"/>
                  </a:cubicBezTo>
                  <a:cubicBezTo>
                    <a:pt x="1535975" y="1714983"/>
                    <a:pt x="1695820" y="1637006"/>
                    <a:pt x="1835516" y="1550963"/>
                  </a:cubicBezTo>
                  <a:cubicBezTo>
                    <a:pt x="1917454" y="1499874"/>
                    <a:pt x="1992675" y="1447441"/>
                    <a:pt x="2016853" y="1368120"/>
                  </a:cubicBezTo>
                  <a:cubicBezTo>
                    <a:pt x="2043718" y="1278043"/>
                    <a:pt x="1995362" y="1187966"/>
                    <a:pt x="1944319" y="1092511"/>
                  </a:cubicBezTo>
                  <a:cubicBezTo>
                    <a:pt x="1889246" y="990335"/>
                    <a:pt x="1832830" y="884124"/>
                    <a:pt x="1875814" y="776570"/>
                  </a:cubicBezTo>
                  <a:cubicBezTo>
                    <a:pt x="1886560" y="748337"/>
                    <a:pt x="1904022" y="722793"/>
                    <a:pt x="1921484" y="698593"/>
                  </a:cubicBezTo>
                  <a:cubicBezTo>
                    <a:pt x="1929543" y="686493"/>
                    <a:pt x="1937603" y="675737"/>
                    <a:pt x="1944319" y="664982"/>
                  </a:cubicBezTo>
                  <a:cubicBezTo>
                    <a:pt x="2045061" y="504995"/>
                    <a:pt x="1987302" y="257619"/>
                    <a:pt x="1822084" y="137965"/>
                  </a:cubicBezTo>
                  <a:lnTo>
                    <a:pt x="1822084" y="137965"/>
                  </a:lnTo>
                  <a:cubicBezTo>
                    <a:pt x="1690447" y="42510"/>
                    <a:pt x="1486275" y="15621"/>
                    <a:pt x="1346578" y="74776"/>
                  </a:cubicBezTo>
                  <a:cubicBezTo>
                    <a:pt x="1256582" y="113765"/>
                    <a:pt x="1069872" y="296608"/>
                    <a:pt x="1028231" y="386685"/>
                  </a:cubicBezTo>
                  <a:cubicBezTo>
                    <a:pt x="998680" y="451217"/>
                    <a:pt x="1032261" y="526506"/>
                    <a:pt x="1080618" y="568183"/>
                  </a:cubicBezTo>
                  <a:cubicBezTo>
                    <a:pt x="1126288" y="607171"/>
                    <a:pt x="1190763" y="631371"/>
                    <a:pt x="1280760" y="642127"/>
                  </a:cubicBezTo>
                  <a:lnTo>
                    <a:pt x="1284790" y="642127"/>
                  </a:lnTo>
                  <a:cubicBezTo>
                    <a:pt x="1306281" y="644815"/>
                    <a:pt x="1330460" y="647504"/>
                    <a:pt x="1353295" y="659604"/>
                  </a:cubicBezTo>
                  <a:cubicBezTo>
                    <a:pt x="1386876" y="679771"/>
                    <a:pt x="1402995" y="717415"/>
                    <a:pt x="1394935" y="760437"/>
                  </a:cubicBezTo>
                  <a:cubicBezTo>
                    <a:pt x="1385532" y="811525"/>
                    <a:pt x="1341206" y="872024"/>
                    <a:pt x="1276730" y="882780"/>
                  </a:cubicBezTo>
                  <a:cubicBezTo>
                    <a:pt x="1201509" y="894880"/>
                    <a:pt x="1133004" y="862613"/>
                    <a:pt x="1065842" y="831692"/>
                  </a:cubicBezTo>
                  <a:cubicBezTo>
                    <a:pt x="1051066" y="824969"/>
                    <a:pt x="1036291" y="818247"/>
                    <a:pt x="1021515" y="811525"/>
                  </a:cubicBezTo>
                  <a:cubicBezTo>
                    <a:pt x="993307" y="795392"/>
                    <a:pt x="950324" y="783292"/>
                    <a:pt x="911370" y="783292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45" name="Google Shape;345;p18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3">
  <p:cSld name="CUSTOM_7_1_1_1">
    <p:spTree>
      <p:nvGrpSpPr>
        <p:cNvPr id="1" name="Shape 3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47" name="Google Shape;347;p19"/>
          <p:cNvGrpSpPr/>
          <p:nvPr/>
        </p:nvGrpSpPr>
        <p:grpSpPr>
          <a:xfrm>
            <a:off x="-418653" y="-1360083"/>
            <a:ext cx="13688281" cy="9230003"/>
            <a:chOff x="-313990" y="-1020062"/>
            <a:chExt cx="10266211" cy="6922502"/>
          </a:xfrm>
        </p:grpSpPr>
        <p:sp>
          <p:nvSpPr>
            <p:cNvPr id="348" name="Google Shape;348;p19"/>
            <p:cNvSpPr/>
            <p:nvPr/>
          </p:nvSpPr>
          <p:spPr>
            <a:xfrm rot="-4955155">
              <a:off x="6081222" y="-1285937"/>
              <a:ext cx="1339455" cy="2135581"/>
            </a:xfrm>
            <a:custGeom>
              <a:avLst/>
              <a:gdLst/>
              <a:ahLst/>
              <a:cxnLst/>
              <a:rect l="l" t="t" r="r" b="b"/>
              <a:pathLst>
                <a:path w="751489" h="1198148" extrusionOk="0">
                  <a:moveTo>
                    <a:pt x="402141" y="93"/>
                  </a:moveTo>
                  <a:cubicBezTo>
                    <a:pt x="300092" y="-4042"/>
                    <a:pt x="198166" y="131310"/>
                    <a:pt x="199148" y="212705"/>
                  </a:cubicBezTo>
                  <a:lnTo>
                    <a:pt x="145466" y="278583"/>
                  </a:lnTo>
                  <a:cubicBezTo>
                    <a:pt x="81810" y="365373"/>
                    <a:pt x="-52110" y="377588"/>
                    <a:pt x="21507" y="523992"/>
                  </a:cubicBezTo>
                  <a:cubicBezTo>
                    <a:pt x="87406" y="655045"/>
                    <a:pt x="282594" y="691885"/>
                    <a:pt x="191235" y="850801"/>
                  </a:cubicBezTo>
                  <a:cubicBezTo>
                    <a:pt x="146722" y="928231"/>
                    <a:pt x="4264" y="1000694"/>
                    <a:pt x="115239" y="1109208"/>
                  </a:cubicBezTo>
                  <a:cubicBezTo>
                    <a:pt x="185433" y="1177845"/>
                    <a:pt x="323836" y="1202440"/>
                    <a:pt x="413492" y="1197549"/>
                  </a:cubicBezTo>
                  <a:cubicBezTo>
                    <a:pt x="545371" y="1190353"/>
                    <a:pt x="639573" y="1102179"/>
                    <a:pt x="678160" y="999074"/>
                  </a:cubicBezTo>
                  <a:cubicBezTo>
                    <a:pt x="690563" y="965929"/>
                    <a:pt x="718971" y="887260"/>
                    <a:pt x="675608" y="853910"/>
                  </a:cubicBezTo>
                  <a:cubicBezTo>
                    <a:pt x="705576" y="766537"/>
                    <a:pt x="769977" y="686975"/>
                    <a:pt x="746416" y="586540"/>
                  </a:cubicBezTo>
                  <a:cubicBezTo>
                    <a:pt x="729223" y="513258"/>
                    <a:pt x="706434" y="443540"/>
                    <a:pt x="694118" y="369547"/>
                  </a:cubicBezTo>
                  <a:cubicBezTo>
                    <a:pt x="685187" y="315888"/>
                    <a:pt x="680889" y="280062"/>
                    <a:pt x="648068" y="235117"/>
                  </a:cubicBezTo>
                  <a:cubicBezTo>
                    <a:pt x="595351" y="162922"/>
                    <a:pt x="511052" y="4507"/>
                    <a:pt x="402141" y="93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49" name="Google Shape;349;p19"/>
            <p:cNvSpPr/>
            <p:nvPr/>
          </p:nvSpPr>
          <p:spPr>
            <a:xfrm rot="-675734">
              <a:off x="6208492" y="3703242"/>
              <a:ext cx="3596138" cy="1866002"/>
            </a:xfrm>
            <a:custGeom>
              <a:avLst/>
              <a:gdLst/>
              <a:ahLst/>
              <a:cxnLst/>
              <a:rect l="l" t="t" r="r" b="b"/>
              <a:pathLst>
                <a:path w="3053584" h="1584476" extrusionOk="0">
                  <a:moveTo>
                    <a:pt x="2848044" y="66280"/>
                  </a:moveTo>
                  <a:cubicBezTo>
                    <a:pt x="2692826" y="-76856"/>
                    <a:pt x="2447207" y="24797"/>
                    <a:pt x="2481707" y="247147"/>
                  </a:cubicBezTo>
                  <a:cubicBezTo>
                    <a:pt x="2505725" y="401946"/>
                    <a:pt x="2698833" y="410410"/>
                    <a:pt x="2579400" y="576854"/>
                  </a:cubicBezTo>
                  <a:cubicBezTo>
                    <a:pt x="2523412" y="654877"/>
                    <a:pt x="2439816" y="760822"/>
                    <a:pt x="2377989" y="832667"/>
                  </a:cubicBezTo>
                  <a:cubicBezTo>
                    <a:pt x="2304004" y="918638"/>
                    <a:pt x="2208521" y="909487"/>
                    <a:pt x="2083954" y="878331"/>
                  </a:cubicBezTo>
                  <a:cubicBezTo>
                    <a:pt x="1936665" y="841492"/>
                    <a:pt x="1900786" y="820910"/>
                    <a:pt x="1748339" y="865915"/>
                  </a:cubicBezTo>
                  <a:cubicBezTo>
                    <a:pt x="1657665" y="892683"/>
                    <a:pt x="1554316" y="888008"/>
                    <a:pt x="1554214" y="993871"/>
                  </a:cubicBezTo>
                  <a:cubicBezTo>
                    <a:pt x="1554165" y="1045921"/>
                    <a:pt x="1581172" y="1075784"/>
                    <a:pt x="1617667" y="1103806"/>
                  </a:cubicBezTo>
                  <a:cubicBezTo>
                    <a:pt x="1696111" y="1164036"/>
                    <a:pt x="1827672" y="1171659"/>
                    <a:pt x="1676726" y="1271187"/>
                  </a:cubicBezTo>
                  <a:cubicBezTo>
                    <a:pt x="1566337" y="1343973"/>
                    <a:pt x="1388995" y="1343296"/>
                    <a:pt x="1259590" y="1366332"/>
                  </a:cubicBezTo>
                  <a:cubicBezTo>
                    <a:pt x="1136302" y="1388280"/>
                    <a:pt x="1046133" y="1376633"/>
                    <a:pt x="958841" y="1269206"/>
                  </a:cubicBezTo>
                  <a:cubicBezTo>
                    <a:pt x="857855" y="1144925"/>
                    <a:pt x="916571" y="1114692"/>
                    <a:pt x="953939" y="1001887"/>
                  </a:cubicBezTo>
                  <a:cubicBezTo>
                    <a:pt x="1010762" y="830355"/>
                    <a:pt x="781410" y="781894"/>
                    <a:pt x="633792" y="785111"/>
                  </a:cubicBezTo>
                  <a:cubicBezTo>
                    <a:pt x="556385" y="786799"/>
                    <a:pt x="483753" y="803740"/>
                    <a:pt x="448449" y="877423"/>
                  </a:cubicBezTo>
                  <a:cubicBezTo>
                    <a:pt x="398608" y="981446"/>
                    <a:pt x="490589" y="1039611"/>
                    <a:pt x="492621" y="1128686"/>
                  </a:cubicBezTo>
                  <a:cubicBezTo>
                    <a:pt x="497375" y="1337041"/>
                    <a:pt x="194787" y="1364584"/>
                    <a:pt x="82691" y="1489039"/>
                  </a:cubicBezTo>
                  <a:cubicBezTo>
                    <a:pt x="54745" y="1520064"/>
                    <a:pt x="27411" y="1552187"/>
                    <a:pt x="5" y="1584476"/>
                  </a:cubicBezTo>
                  <a:lnTo>
                    <a:pt x="3053590" y="1584476"/>
                  </a:lnTo>
                  <a:lnTo>
                    <a:pt x="3053590" y="459040"/>
                  </a:lnTo>
                  <a:cubicBezTo>
                    <a:pt x="3003663" y="319003"/>
                    <a:pt x="2950589" y="160844"/>
                    <a:pt x="2848044" y="66280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0" name="Google Shape;350;p19"/>
            <p:cNvSpPr/>
            <p:nvPr/>
          </p:nvSpPr>
          <p:spPr>
            <a:xfrm rot="10800000" flipH="1">
              <a:off x="-313990" y="4604001"/>
              <a:ext cx="3230757" cy="1138290"/>
            </a:xfrm>
            <a:custGeom>
              <a:avLst/>
              <a:gdLst/>
              <a:ahLst/>
              <a:cxnLst/>
              <a:rect l="l" t="t" r="r" b="b"/>
              <a:pathLst>
                <a:path w="3230757" h="1138290" extrusionOk="0">
                  <a:moveTo>
                    <a:pt x="1065187" y="826826"/>
                  </a:moveTo>
                  <a:cubicBezTo>
                    <a:pt x="1375474" y="920936"/>
                    <a:pt x="1661584" y="990846"/>
                    <a:pt x="2008139" y="994880"/>
                  </a:cubicBezTo>
                  <a:cubicBezTo>
                    <a:pt x="2307681" y="998913"/>
                    <a:pt x="3324511" y="922280"/>
                    <a:pt x="3223768" y="559284"/>
                  </a:cubicBezTo>
                  <a:cubicBezTo>
                    <a:pt x="3164666" y="348208"/>
                    <a:pt x="2619312" y="353586"/>
                    <a:pt x="2521255" y="151921"/>
                  </a:cubicBezTo>
                  <a:cubicBezTo>
                    <a:pt x="2494391" y="95455"/>
                    <a:pt x="2503793" y="45711"/>
                    <a:pt x="2537374" y="0"/>
                  </a:cubicBezTo>
                  <a:lnTo>
                    <a:pt x="0" y="0"/>
                  </a:lnTo>
                  <a:lnTo>
                    <a:pt x="0" y="1105123"/>
                  </a:lnTo>
                  <a:cubicBezTo>
                    <a:pt x="436552" y="1187133"/>
                    <a:pt x="844896" y="1125289"/>
                    <a:pt x="1065187" y="8268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51" name="Google Shape;351;p19"/>
          <p:cNvGrpSpPr/>
          <p:nvPr/>
        </p:nvGrpSpPr>
        <p:grpSpPr>
          <a:xfrm>
            <a:off x="-881847" y="-1038636"/>
            <a:ext cx="15454432" cy="6905829"/>
            <a:chOff x="-661385" y="-778977"/>
            <a:chExt cx="11590824" cy="5179372"/>
          </a:xfrm>
        </p:grpSpPr>
        <p:sp>
          <p:nvSpPr>
            <p:cNvPr id="352" name="Google Shape;352;p19"/>
            <p:cNvSpPr/>
            <p:nvPr/>
          </p:nvSpPr>
          <p:spPr>
            <a:xfrm rot="5869745" flipH="1">
              <a:off x="8615786" y="2097069"/>
              <a:ext cx="2241707" cy="2099810"/>
            </a:xfrm>
            <a:custGeom>
              <a:avLst/>
              <a:gdLst/>
              <a:ahLst/>
              <a:cxnLst/>
              <a:rect l="l" t="t" r="r" b="b"/>
              <a:pathLst>
                <a:path w="1850676" h="1733531" extrusionOk="0">
                  <a:moveTo>
                    <a:pt x="1392436" y="1733532"/>
                  </a:moveTo>
                  <a:cubicBezTo>
                    <a:pt x="1356116" y="1733435"/>
                    <a:pt x="1320056" y="1727407"/>
                    <a:pt x="1285678" y="1715686"/>
                  </a:cubicBezTo>
                  <a:cubicBezTo>
                    <a:pt x="1236246" y="1699120"/>
                    <a:pt x="1202707" y="1667331"/>
                    <a:pt x="1170265" y="1636579"/>
                  </a:cubicBezTo>
                  <a:cubicBezTo>
                    <a:pt x="1134465" y="1602648"/>
                    <a:pt x="1100652" y="1570585"/>
                    <a:pt x="1046178" y="1557516"/>
                  </a:cubicBezTo>
                  <a:cubicBezTo>
                    <a:pt x="936663" y="1531212"/>
                    <a:pt x="787034" y="1537364"/>
                    <a:pt x="645934" y="1573962"/>
                  </a:cubicBezTo>
                  <a:cubicBezTo>
                    <a:pt x="619752" y="1580748"/>
                    <a:pt x="594312" y="1588649"/>
                    <a:pt x="569708" y="1596287"/>
                  </a:cubicBezTo>
                  <a:cubicBezTo>
                    <a:pt x="501149" y="1617576"/>
                    <a:pt x="436413" y="1637672"/>
                    <a:pt x="358035" y="1635267"/>
                  </a:cubicBezTo>
                  <a:cubicBezTo>
                    <a:pt x="254669" y="1632077"/>
                    <a:pt x="171648" y="1597009"/>
                    <a:pt x="111287" y="1531026"/>
                  </a:cubicBezTo>
                  <a:cubicBezTo>
                    <a:pt x="1920" y="1411486"/>
                    <a:pt x="-4410" y="1219941"/>
                    <a:pt x="1554" y="1116410"/>
                  </a:cubicBezTo>
                  <a:cubicBezTo>
                    <a:pt x="8107" y="1002705"/>
                    <a:pt x="65082" y="916910"/>
                    <a:pt x="120184" y="833934"/>
                  </a:cubicBezTo>
                  <a:cubicBezTo>
                    <a:pt x="156891" y="778660"/>
                    <a:pt x="194848" y="721507"/>
                    <a:pt x="216967" y="656868"/>
                  </a:cubicBezTo>
                  <a:cubicBezTo>
                    <a:pt x="240961" y="586755"/>
                    <a:pt x="215209" y="540235"/>
                    <a:pt x="182615" y="481334"/>
                  </a:cubicBezTo>
                  <a:cubicBezTo>
                    <a:pt x="172598" y="463226"/>
                    <a:pt x="162238" y="444518"/>
                    <a:pt x="152740" y="423951"/>
                  </a:cubicBezTo>
                  <a:cubicBezTo>
                    <a:pt x="135263" y="386107"/>
                    <a:pt x="109998" y="314530"/>
                    <a:pt x="137219" y="260338"/>
                  </a:cubicBezTo>
                  <a:cubicBezTo>
                    <a:pt x="151932" y="231046"/>
                    <a:pt x="179130" y="211474"/>
                    <a:pt x="218109" y="202115"/>
                  </a:cubicBezTo>
                  <a:cubicBezTo>
                    <a:pt x="233358" y="184870"/>
                    <a:pt x="291950" y="118603"/>
                    <a:pt x="292911" y="117516"/>
                  </a:cubicBezTo>
                  <a:cubicBezTo>
                    <a:pt x="386915" y="11220"/>
                    <a:pt x="545185" y="-46895"/>
                    <a:pt x="665864" y="47653"/>
                  </a:cubicBezTo>
                  <a:cubicBezTo>
                    <a:pt x="728262" y="96551"/>
                    <a:pt x="749163" y="170319"/>
                    <a:pt x="755706" y="223593"/>
                  </a:cubicBezTo>
                  <a:cubicBezTo>
                    <a:pt x="757972" y="242056"/>
                    <a:pt x="759469" y="260600"/>
                    <a:pt x="760911" y="278544"/>
                  </a:cubicBezTo>
                  <a:cubicBezTo>
                    <a:pt x="768322" y="370622"/>
                    <a:pt x="774723" y="450145"/>
                    <a:pt x="879443" y="483377"/>
                  </a:cubicBezTo>
                  <a:cubicBezTo>
                    <a:pt x="947576" y="504993"/>
                    <a:pt x="1018346" y="489694"/>
                    <a:pt x="1065714" y="473050"/>
                  </a:cubicBezTo>
                  <a:cubicBezTo>
                    <a:pt x="1076682" y="469192"/>
                    <a:pt x="1087522" y="464920"/>
                    <a:pt x="1098369" y="460647"/>
                  </a:cubicBezTo>
                  <a:cubicBezTo>
                    <a:pt x="1124661" y="449293"/>
                    <a:pt x="1152031" y="440620"/>
                    <a:pt x="1180062" y="434759"/>
                  </a:cubicBezTo>
                  <a:cubicBezTo>
                    <a:pt x="1214374" y="428050"/>
                    <a:pt x="1249918" y="436281"/>
                    <a:pt x="1277792" y="457391"/>
                  </a:cubicBezTo>
                  <a:cubicBezTo>
                    <a:pt x="1333641" y="498676"/>
                    <a:pt x="1362178" y="582722"/>
                    <a:pt x="1370256" y="647613"/>
                  </a:cubicBezTo>
                  <a:cubicBezTo>
                    <a:pt x="1376171" y="695128"/>
                    <a:pt x="1366482" y="741538"/>
                    <a:pt x="1357110" y="786420"/>
                  </a:cubicBezTo>
                  <a:cubicBezTo>
                    <a:pt x="1346280" y="838283"/>
                    <a:pt x="1336055" y="887262"/>
                    <a:pt x="1348721" y="936350"/>
                  </a:cubicBezTo>
                  <a:cubicBezTo>
                    <a:pt x="1354781" y="963365"/>
                    <a:pt x="1371188" y="986926"/>
                    <a:pt x="1394418" y="1001973"/>
                  </a:cubicBezTo>
                  <a:cubicBezTo>
                    <a:pt x="1424582" y="1019698"/>
                    <a:pt x="1464577" y="1012038"/>
                    <a:pt x="1506920" y="1003929"/>
                  </a:cubicBezTo>
                  <a:cubicBezTo>
                    <a:pt x="1559777" y="993810"/>
                    <a:pt x="1614425" y="983374"/>
                    <a:pt x="1655720" y="1022758"/>
                  </a:cubicBezTo>
                  <a:cubicBezTo>
                    <a:pt x="1673891" y="1040100"/>
                    <a:pt x="1678746" y="1063803"/>
                    <a:pt x="1683027" y="1084719"/>
                  </a:cubicBezTo>
                  <a:cubicBezTo>
                    <a:pt x="1684027" y="1089615"/>
                    <a:pt x="1685022" y="1094488"/>
                    <a:pt x="1686191" y="1099232"/>
                  </a:cubicBezTo>
                  <a:cubicBezTo>
                    <a:pt x="1695508" y="1137085"/>
                    <a:pt x="1722384" y="1162165"/>
                    <a:pt x="1750838" y="1188709"/>
                  </a:cubicBezTo>
                  <a:cubicBezTo>
                    <a:pt x="1769456" y="1205017"/>
                    <a:pt x="1786430" y="1223113"/>
                    <a:pt x="1801516" y="1242737"/>
                  </a:cubicBezTo>
                  <a:cubicBezTo>
                    <a:pt x="1812476" y="1257849"/>
                    <a:pt x="1821933" y="1273997"/>
                    <a:pt x="1829752" y="1290951"/>
                  </a:cubicBezTo>
                  <a:lnTo>
                    <a:pt x="1829752" y="1290951"/>
                  </a:lnTo>
                  <a:cubicBezTo>
                    <a:pt x="1913620" y="1473840"/>
                    <a:pt x="1725044" y="1592026"/>
                    <a:pt x="1623732" y="1655528"/>
                  </a:cubicBezTo>
                  <a:cubicBezTo>
                    <a:pt x="1562262" y="1694048"/>
                    <a:pt x="1484523" y="1733532"/>
                    <a:pt x="1392436" y="1733532"/>
                  </a:cubicBezTo>
                  <a:close/>
                  <a:moveTo>
                    <a:pt x="894484" y="1507881"/>
                  </a:moveTo>
                  <a:cubicBezTo>
                    <a:pt x="948137" y="1507342"/>
                    <a:pt x="1001671" y="1513041"/>
                    <a:pt x="1054010" y="1524863"/>
                  </a:cubicBezTo>
                  <a:cubicBezTo>
                    <a:pt x="1117211" y="1540042"/>
                    <a:pt x="1155918" y="1576727"/>
                    <a:pt x="1193345" y="1612210"/>
                  </a:cubicBezTo>
                  <a:cubicBezTo>
                    <a:pt x="1224509" y="1641748"/>
                    <a:pt x="1253941" y="1669647"/>
                    <a:pt x="1296340" y="1683864"/>
                  </a:cubicBezTo>
                  <a:cubicBezTo>
                    <a:pt x="1396340" y="1717359"/>
                    <a:pt x="1488930" y="1700409"/>
                    <a:pt x="1605916" y="1627072"/>
                  </a:cubicBezTo>
                  <a:cubicBezTo>
                    <a:pt x="1734088" y="1546741"/>
                    <a:pt x="1865301" y="1448980"/>
                    <a:pt x="1799256" y="1304950"/>
                  </a:cubicBezTo>
                  <a:lnTo>
                    <a:pt x="1799256" y="1304960"/>
                  </a:lnTo>
                  <a:cubicBezTo>
                    <a:pt x="1792352" y="1289997"/>
                    <a:pt x="1784004" y="1275745"/>
                    <a:pt x="1774328" y="1262407"/>
                  </a:cubicBezTo>
                  <a:cubicBezTo>
                    <a:pt x="1760504" y="1244557"/>
                    <a:pt x="1744972" y="1228098"/>
                    <a:pt x="1727954" y="1213264"/>
                  </a:cubicBezTo>
                  <a:cubicBezTo>
                    <a:pt x="1697157" y="1184523"/>
                    <a:pt x="1665311" y="1154821"/>
                    <a:pt x="1653607" y="1107253"/>
                  </a:cubicBezTo>
                  <a:cubicBezTo>
                    <a:pt x="1652334" y="1102084"/>
                    <a:pt x="1651247" y="1096783"/>
                    <a:pt x="1650155" y="1091461"/>
                  </a:cubicBezTo>
                  <a:cubicBezTo>
                    <a:pt x="1646539" y="1073813"/>
                    <a:pt x="1643126" y="1057137"/>
                    <a:pt x="1632557" y="1047050"/>
                  </a:cubicBezTo>
                  <a:cubicBezTo>
                    <a:pt x="1603749" y="1019577"/>
                    <a:pt x="1559771" y="1027992"/>
                    <a:pt x="1513228" y="1036909"/>
                  </a:cubicBezTo>
                  <a:cubicBezTo>
                    <a:pt x="1466646" y="1045826"/>
                    <a:pt x="1418487" y="1055060"/>
                    <a:pt x="1377422" y="1030910"/>
                  </a:cubicBezTo>
                  <a:cubicBezTo>
                    <a:pt x="1346504" y="1011344"/>
                    <a:pt x="1324525" y="980391"/>
                    <a:pt x="1316236" y="944743"/>
                  </a:cubicBezTo>
                  <a:cubicBezTo>
                    <a:pt x="1301605" y="888060"/>
                    <a:pt x="1313122" y="832907"/>
                    <a:pt x="1324264" y="779557"/>
                  </a:cubicBezTo>
                  <a:cubicBezTo>
                    <a:pt x="1333478" y="735419"/>
                    <a:pt x="1342184" y="693729"/>
                    <a:pt x="1336962" y="651766"/>
                  </a:cubicBezTo>
                  <a:cubicBezTo>
                    <a:pt x="1330070" y="596437"/>
                    <a:pt x="1305214" y="519396"/>
                    <a:pt x="1257851" y="484393"/>
                  </a:cubicBezTo>
                  <a:cubicBezTo>
                    <a:pt x="1237376" y="468739"/>
                    <a:pt x="1211140" y="462700"/>
                    <a:pt x="1185885" y="467827"/>
                  </a:cubicBezTo>
                  <a:cubicBezTo>
                    <a:pt x="1160066" y="473309"/>
                    <a:pt x="1134862" y="481371"/>
                    <a:pt x="1110652" y="491890"/>
                  </a:cubicBezTo>
                  <a:cubicBezTo>
                    <a:pt x="1099429" y="496316"/>
                    <a:pt x="1088195" y="500731"/>
                    <a:pt x="1076834" y="504719"/>
                  </a:cubicBezTo>
                  <a:cubicBezTo>
                    <a:pt x="1024633" y="523056"/>
                    <a:pt x="946254" y="539820"/>
                    <a:pt x="869296" y="515374"/>
                  </a:cubicBezTo>
                  <a:cubicBezTo>
                    <a:pt x="743085" y="475323"/>
                    <a:pt x="735143" y="376655"/>
                    <a:pt x="727464" y="281243"/>
                  </a:cubicBezTo>
                  <a:cubicBezTo>
                    <a:pt x="726050" y="263650"/>
                    <a:pt x="724581" y="245454"/>
                    <a:pt x="722401" y="227691"/>
                  </a:cubicBezTo>
                  <a:cubicBezTo>
                    <a:pt x="716628" y="180701"/>
                    <a:pt x="698539" y="115904"/>
                    <a:pt x="645175" y="74082"/>
                  </a:cubicBezTo>
                  <a:cubicBezTo>
                    <a:pt x="540822" y="-7663"/>
                    <a:pt x="401639" y="45227"/>
                    <a:pt x="318077" y="139721"/>
                  </a:cubicBezTo>
                  <a:lnTo>
                    <a:pt x="317362" y="139087"/>
                  </a:lnTo>
                  <a:cubicBezTo>
                    <a:pt x="309683" y="149218"/>
                    <a:pt x="290010" y="171461"/>
                    <a:pt x="239650" y="228417"/>
                  </a:cubicBezTo>
                  <a:lnTo>
                    <a:pt x="235969" y="232587"/>
                  </a:lnTo>
                  <a:lnTo>
                    <a:pt x="230528" y="233728"/>
                  </a:lnTo>
                  <a:cubicBezTo>
                    <a:pt x="199087" y="240324"/>
                    <a:pt x="177781" y="254349"/>
                    <a:pt x="167202" y="275408"/>
                  </a:cubicBezTo>
                  <a:cubicBezTo>
                    <a:pt x="146307" y="317021"/>
                    <a:pt x="168257" y="377519"/>
                    <a:pt x="183205" y="409876"/>
                  </a:cubicBezTo>
                  <a:cubicBezTo>
                    <a:pt x="192189" y="429327"/>
                    <a:pt x="202243" y="447501"/>
                    <a:pt x="211971" y="465073"/>
                  </a:cubicBezTo>
                  <a:cubicBezTo>
                    <a:pt x="245684" y="525996"/>
                    <a:pt x="277531" y="583531"/>
                    <a:pt x="248710" y="667753"/>
                  </a:cubicBezTo>
                  <a:cubicBezTo>
                    <a:pt x="225193" y="736479"/>
                    <a:pt x="186018" y="795468"/>
                    <a:pt x="148135" y="852511"/>
                  </a:cubicBezTo>
                  <a:cubicBezTo>
                    <a:pt x="93084" y="935410"/>
                    <a:pt x="41084" y="1013709"/>
                    <a:pt x="35055" y="1118333"/>
                  </a:cubicBezTo>
                  <a:cubicBezTo>
                    <a:pt x="29396" y="1216586"/>
                    <a:pt x="34989" y="1397914"/>
                    <a:pt x="136039" y="1508362"/>
                  </a:cubicBezTo>
                  <a:cubicBezTo>
                    <a:pt x="190059" y="1567406"/>
                    <a:pt x="265095" y="1598812"/>
                    <a:pt x="359071" y="1601719"/>
                  </a:cubicBezTo>
                  <a:cubicBezTo>
                    <a:pt x="431798" y="1603937"/>
                    <a:pt x="493967" y="1584650"/>
                    <a:pt x="559762" y="1564225"/>
                  </a:cubicBezTo>
                  <a:cubicBezTo>
                    <a:pt x="584737" y="1556477"/>
                    <a:pt x="610560" y="1548456"/>
                    <a:pt x="637513" y="1541462"/>
                  </a:cubicBezTo>
                  <a:cubicBezTo>
                    <a:pt x="721437" y="1519605"/>
                    <a:pt x="807763" y="1508324"/>
                    <a:pt x="894484" y="15078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3" name="Google Shape;353;p19"/>
            <p:cNvSpPr/>
            <p:nvPr/>
          </p:nvSpPr>
          <p:spPr>
            <a:xfrm flipH="1">
              <a:off x="-661385" y="-778977"/>
              <a:ext cx="2346433" cy="1683429"/>
            </a:xfrm>
            <a:custGeom>
              <a:avLst/>
              <a:gdLst/>
              <a:ahLst/>
              <a:cxnLst/>
              <a:rect l="l" t="t" r="r" b="b"/>
              <a:pathLst>
                <a:path w="1939201" h="1391264" extrusionOk="0">
                  <a:moveTo>
                    <a:pt x="1267674" y="1391264"/>
                  </a:moveTo>
                  <a:cubicBezTo>
                    <a:pt x="1161742" y="1391274"/>
                    <a:pt x="1046799" y="1287114"/>
                    <a:pt x="965193" y="1203161"/>
                  </a:cubicBezTo>
                  <a:cubicBezTo>
                    <a:pt x="929503" y="1165024"/>
                    <a:pt x="896376" y="1124564"/>
                    <a:pt x="866032" y="1082047"/>
                  </a:cubicBezTo>
                  <a:cubicBezTo>
                    <a:pt x="780319" y="967117"/>
                    <a:pt x="712597" y="876356"/>
                    <a:pt x="543692" y="913489"/>
                  </a:cubicBezTo>
                  <a:cubicBezTo>
                    <a:pt x="371403" y="951404"/>
                    <a:pt x="246890" y="922045"/>
                    <a:pt x="139974" y="818388"/>
                  </a:cubicBezTo>
                  <a:cubicBezTo>
                    <a:pt x="31933" y="713650"/>
                    <a:pt x="-22125" y="551021"/>
                    <a:pt x="8504" y="422897"/>
                  </a:cubicBezTo>
                  <a:cubicBezTo>
                    <a:pt x="39606" y="285532"/>
                    <a:pt x="127951" y="168035"/>
                    <a:pt x="251249" y="100053"/>
                  </a:cubicBezTo>
                  <a:cubicBezTo>
                    <a:pt x="484707" y="-34531"/>
                    <a:pt x="799358" y="-12948"/>
                    <a:pt x="997853" y="46424"/>
                  </a:cubicBezTo>
                  <a:cubicBezTo>
                    <a:pt x="1100519" y="77131"/>
                    <a:pt x="1189137" y="140666"/>
                    <a:pt x="1274841" y="202108"/>
                  </a:cubicBezTo>
                  <a:cubicBezTo>
                    <a:pt x="1365470" y="267085"/>
                    <a:pt x="1451073" y="328457"/>
                    <a:pt x="1550977" y="353335"/>
                  </a:cubicBezTo>
                  <a:cubicBezTo>
                    <a:pt x="1560483" y="355578"/>
                    <a:pt x="1570377" y="355617"/>
                    <a:pt x="1579900" y="353449"/>
                  </a:cubicBezTo>
                  <a:cubicBezTo>
                    <a:pt x="1591653" y="351051"/>
                    <a:pt x="1603746" y="350842"/>
                    <a:pt x="1615574" y="352831"/>
                  </a:cubicBezTo>
                  <a:cubicBezTo>
                    <a:pt x="1805092" y="387583"/>
                    <a:pt x="1821071" y="429005"/>
                    <a:pt x="1826325" y="442616"/>
                  </a:cubicBezTo>
                  <a:cubicBezTo>
                    <a:pt x="1830697" y="453810"/>
                    <a:pt x="1830174" y="466325"/>
                    <a:pt x="1824884" y="477115"/>
                  </a:cubicBezTo>
                  <a:cubicBezTo>
                    <a:pt x="1933700" y="626500"/>
                    <a:pt x="2000856" y="937470"/>
                    <a:pt x="1857009" y="1086811"/>
                  </a:cubicBezTo>
                  <a:cubicBezTo>
                    <a:pt x="1764304" y="1183064"/>
                    <a:pt x="1703037" y="1183485"/>
                    <a:pt x="1585285" y="1161476"/>
                  </a:cubicBezTo>
                  <a:lnTo>
                    <a:pt x="1574111" y="1159361"/>
                  </a:lnTo>
                  <a:cubicBezTo>
                    <a:pt x="1517694" y="1148635"/>
                    <a:pt x="1505984" y="1146423"/>
                    <a:pt x="1468289" y="1184895"/>
                  </a:cubicBezTo>
                  <a:cubicBezTo>
                    <a:pt x="1448637" y="1204969"/>
                    <a:pt x="1435213" y="1233109"/>
                    <a:pt x="1420992" y="1262899"/>
                  </a:cubicBezTo>
                  <a:cubicBezTo>
                    <a:pt x="1397551" y="1312041"/>
                    <a:pt x="1373301" y="1362851"/>
                    <a:pt x="1317594" y="1382778"/>
                  </a:cubicBezTo>
                  <a:cubicBezTo>
                    <a:pt x="1301569" y="1388468"/>
                    <a:pt x="1284680" y="1391339"/>
                    <a:pt x="1267675" y="1391264"/>
                  </a:cubicBezTo>
                  <a:close/>
                  <a:moveTo>
                    <a:pt x="615008" y="871547"/>
                  </a:moveTo>
                  <a:cubicBezTo>
                    <a:pt x="750914" y="871547"/>
                    <a:pt x="820199" y="964457"/>
                    <a:pt x="892925" y="1061966"/>
                  </a:cubicBezTo>
                  <a:cubicBezTo>
                    <a:pt x="922415" y="1103299"/>
                    <a:pt x="954592" y="1142646"/>
                    <a:pt x="989245" y="1179753"/>
                  </a:cubicBezTo>
                  <a:cubicBezTo>
                    <a:pt x="1040059" y="1232027"/>
                    <a:pt x="1194589" y="1391127"/>
                    <a:pt x="1306300" y="1351164"/>
                  </a:cubicBezTo>
                  <a:cubicBezTo>
                    <a:pt x="1348976" y="1335897"/>
                    <a:pt x="1369249" y="1293414"/>
                    <a:pt x="1390712" y="1248441"/>
                  </a:cubicBezTo>
                  <a:cubicBezTo>
                    <a:pt x="1405480" y="1217482"/>
                    <a:pt x="1420762" y="1185468"/>
                    <a:pt x="1444323" y="1161400"/>
                  </a:cubicBezTo>
                  <a:cubicBezTo>
                    <a:pt x="1494591" y="1110072"/>
                    <a:pt x="1521473" y="1115163"/>
                    <a:pt x="1580382" y="1126382"/>
                  </a:cubicBezTo>
                  <a:lnTo>
                    <a:pt x="1591446" y="1128474"/>
                  </a:lnTo>
                  <a:cubicBezTo>
                    <a:pt x="1701464" y="1149041"/>
                    <a:pt x="1750749" y="1148762"/>
                    <a:pt x="1832847" y="1063513"/>
                  </a:cubicBezTo>
                  <a:cubicBezTo>
                    <a:pt x="1962886" y="928504"/>
                    <a:pt x="1898375" y="626292"/>
                    <a:pt x="1791426" y="488442"/>
                  </a:cubicBezTo>
                  <a:lnTo>
                    <a:pt x="1783496" y="478230"/>
                  </a:lnTo>
                  <a:lnTo>
                    <a:pt x="1791350" y="467957"/>
                  </a:lnTo>
                  <a:cubicBezTo>
                    <a:pt x="1797183" y="460308"/>
                    <a:pt x="1795730" y="456526"/>
                    <a:pt x="1795020" y="454707"/>
                  </a:cubicBezTo>
                  <a:cubicBezTo>
                    <a:pt x="1788029" y="436583"/>
                    <a:pt x="1735621" y="408974"/>
                    <a:pt x="1609524" y="385856"/>
                  </a:cubicBezTo>
                  <a:cubicBezTo>
                    <a:pt x="1601425" y="384582"/>
                    <a:pt x="1593160" y="384836"/>
                    <a:pt x="1585154" y="386605"/>
                  </a:cubicBezTo>
                  <a:cubicBezTo>
                    <a:pt x="1571184" y="389528"/>
                    <a:pt x="1556738" y="389291"/>
                    <a:pt x="1542871" y="385911"/>
                  </a:cubicBezTo>
                  <a:cubicBezTo>
                    <a:pt x="1436743" y="359482"/>
                    <a:pt x="1344497" y="293351"/>
                    <a:pt x="1255288" y="229396"/>
                  </a:cubicBezTo>
                  <a:cubicBezTo>
                    <a:pt x="1171836" y="169560"/>
                    <a:pt x="1085533" y="107686"/>
                    <a:pt x="988240" y="78584"/>
                  </a:cubicBezTo>
                  <a:cubicBezTo>
                    <a:pt x="780953" y="16580"/>
                    <a:pt x="477858" y="8170"/>
                    <a:pt x="267992" y="129143"/>
                  </a:cubicBezTo>
                  <a:cubicBezTo>
                    <a:pt x="152786" y="192628"/>
                    <a:pt x="70224" y="302382"/>
                    <a:pt x="41142" y="430710"/>
                  </a:cubicBezTo>
                  <a:cubicBezTo>
                    <a:pt x="13124" y="547873"/>
                    <a:pt x="63371" y="697384"/>
                    <a:pt x="163328" y="794281"/>
                  </a:cubicBezTo>
                  <a:cubicBezTo>
                    <a:pt x="261275" y="889235"/>
                    <a:pt x="376328" y="915899"/>
                    <a:pt x="536482" y="880705"/>
                  </a:cubicBezTo>
                  <a:cubicBezTo>
                    <a:pt x="562250" y="874823"/>
                    <a:pt x="588579" y="871752"/>
                    <a:pt x="615008" y="87154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54" name="Google Shape;354;p19"/>
          <p:cNvSpPr txBox="1">
            <a:spLocks noGrp="1"/>
          </p:cNvSpPr>
          <p:nvPr>
            <p:ph type="title"/>
          </p:nvPr>
        </p:nvSpPr>
        <p:spPr>
          <a:xfrm>
            <a:off x="960000" y="593367"/>
            <a:ext cx="10272000" cy="763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anks">
  <p:cSld name="CUSTOM_3_1">
    <p:spTree>
      <p:nvGrpSpPr>
        <p:cNvPr id="1" name="Shape 3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56" name="Google Shape;356;p20"/>
          <p:cNvGrpSpPr/>
          <p:nvPr/>
        </p:nvGrpSpPr>
        <p:grpSpPr>
          <a:xfrm>
            <a:off x="-747887" y="-1505921"/>
            <a:ext cx="14964259" cy="9949395"/>
            <a:chOff x="-560915" y="-1129441"/>
            <a:chExt cx="11223194" cy="7462046"/>
          </a:xfrm>
        </p:grpSpPr>
        <p:sp>
          <p:nvSpPr>
            <p:cNvPr id="357" name="Google Shape;357;p20"/>
            <p:cNvSpPr/>
            <p:nvPr/>
          </p:nvSpPr>
          <p:spPr>
            <a:xfrm rot="1100666">
              <a:off x="8163316" y="-849109"/>
              <a:ext cx="2172768" cy="2423699"/>
            </a:xfrm>
            <a:custGeom>
              <a:avLst/>
              <a:gdLst/>
              <a:ahLst/>
              <a:cxnLst/>
              <a:rect l="l" t="t" r="r" b="b"/>
              <a:pathLst>
                <a:path w="2170896" h="2421611" extrusionOk="0">
                  <a:moveTo>
                    <a:pt x="227233" y="412741"/>
                  </a:moveTo>
                  <a:cubicBezTo>
                    <a:pt x="145295" y="572728"/>
                    <a:pt x="-41414" y="833548"/>
                    <a:pt x="8286" y="1060757"/>
                  </a:cubicBezTo>
                  <a:cubicBezTo>
                    <a:pt x="60672" y="1293343"/>
                    <a:pt x="327976" y="1302754"/>
                    <a:pt x="440807" y="1433164"/>
                  </a:cubicBezTo>
                  <a:cubicBezTo>
                    <a:pt x="538864" y="1547441"/>
                    <a:pt x="540207" y="1712806"/>
                    <a:pt x="623488" y="1862038"/>
                  </a:cubicBezTo>
                  <a:cubicBezTo>
                    <a:pt x="804825" y="2184702"/>
                    <a:pt x="1163470" y="2393089"/>
                    <a:pt x="1449579" y="2419977"/>
                  </a:cubicBezTo>
                  <a:cubicBezTo>
                    <a:pt x="1649721" y="2438800"/>
                    <a:pt x="1825685" y="2289568"/>
                    <a:pt x="2024484" y="2254612"/>
                  </a:cubicBezTo>
                  <a:cubicBezTo>
                    <a:pt x="2064781" y="2247890"/>
                    <a:pt x="2115824" y="2238479"/>
                    <a:pt x="2170897" y="2229068"/>
                  </a:cubicBezTo>
                  <a:lnTo>
                    <a:pt x="2170897" y="0"/>
                  </a:lnTo>
                  <a:lnTo>
                    <a:pt x="384392" y="0"/>
                  </a:lnTo>
                  <a:cubicBezTo>
                    <a:pt x="353497" y="139821"/>
                    <a:pt x="297082" y="275609"/>
                    <a:pt x="227233" y="412741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8" name="Google Shape;358;p20"/>
            <p:cNvSpPr/>
            <p:nvPr/>
          </p:nvSpPr>
          <p:spPr>
            <a:xfrm rot="-717296">
              <a:off x="2330725" y="4604199"/>
              <a:ext cx="5157515" cy="1207329"/>
            </a:xfrm>
            <a:custGeom>
              <a:avLst/>
              <a:gdLst/>
              <a:ahLst/>
              <a:cxnLst/>
              <a:rect l="l" t="t" r="r" b="b"/>
              <a:pathLst>
                <a:path w="5148625" h="1205248" extrusionOk="0">
                  <a:moveTo>
                    <a:pt x="196112" y="1038539"/>
                  </a:moveTo>
                  <a:cubicBezTo>
                    <a:pt x="128951" y="1065428"/>
                    <a:pt x="63132" y="1128616"/>
                    <a:pt x="0" y="1205249"/>
                  </a:cubicBezTo>
                  <a:lnTo>
                    <a:pt x="5148626" y="1205249"/>
                  </a:lnTo>
                  <a:cubicBezTo>
                    <a:pt x="5084151" y="1109794"/>
                    <a:pt x="5018333" y="1018373"/>
                    <a:pt x="4959230" y="939051"/>
                  </a:cubicBezTo>
                  <a:cubicBezTo>
                    <a:pt x="4842368" y="785786"/>
                    <a:pt x="4614018" y="624454"/>
                    <a:pt x="4393727" y="581432"/>
                  </a:cubicBezTo>
                  <a:cubicBezTo>
                    <a:pt x="4045829" y="514211"/>
                    <a:pt x="3790614" y="745453"/>
                    <a:pt x="3477640" y="784442"/>
                  </a:cubicBezTo>
                  <a:cubicBezTo>
                    <a:pt x="3194217" y="819397"/>
                    <a:pt x="2976612" y="566644"/>
                    <a:pt x="2764381" y="436234"/>
                  </a:cubicBezTo>
                  <a:cubicBezTo>
                    <a:pt x="2510510" y="281624"/>
                    <a:pt x="2244548" y="125670"/>
                    <a:pt x="1940977" y="42315"/>
                  </a:cubicBezTo>
                  <a:cubicBezTo>
                    <a:pt x="1473531" y="-86750"/>
                    <a:pt x="910715" y="85337"/>
                    <a:pt x="711915" y="477911"/>
                  </a:cubicBezTo>
                  <a:cubicBezTo>
                    <a:pt x="624605" y="648654"/>
                    <a:pt x="750869" y="948462"/>
                    <a:pt x="463417" y="1035850"/>
                  </a:cubicBezTo>
                  <a:cubicBezTo>
                    <a:pt x="382822" y="1061395"/>
                    <a:pt x="282080" y="1003584"/>
                    <a:pt x="196112" y="1038539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59" name="Google Shape;359;p20"/>
            <p:cNvSpPr/>
            <p:nvPr/>
          </p:nvSpPr>
          <p:spPr>
            <a:xfrm>
              <a:off x="-560915" y="-489499"/>
              <a:ext cx="3230757" cy="1138290"/>
            </a:xfrm>
            <a:custGeom>
              <a:avLst/>
              <a:gdLst/>
              <a:ahLst/>
              <a:cxnLst/>
              <a:rect l="l" t="t" r="r" b="b"/>
              <a:pathLst>
                <a:path w="3230757" h="1138290" extrusionOk="0">
                  <a:moveTo>
                    <a:pt x="1065187" y="826826"/>
                  </a:moveTo>
                  <a:cubicBezTo>
                    <a:pt x="1375474" y="920936"/>
                    <a:pt x="1661584" y="990846"/>
                    <a:pt x="2008139" y="994880"/>
                  </a:cubicBezTo>
                  <a:cubicBezTo>
                    <a:pt x="2307681" y="998913"/>
                    <a:pt x="3324511" y="922280"/>
                    <a:pt x="3223768" y="559284"/>
                  </a:cubicBezTo>
                  <a:cubicBezTo>
                    <a:pt x="3164666" y="348208"/>
                    <a:pt x="2619312" y="353586"/>
                    <a:pt x="2521255" y="151921"/>
                  </a:cubicBezTo>
                  <a:cubicBezTo>
                    <a:pt x="2494391" y="95455"/>
                    <a:pt x="2503793" y="45711"/>
                    <a:pt x="2537374" y="0"/>
                  </a:cubicBezTo>
                  <a:lnTo>
                    <a:pt x="0" y="0"/>
                  </a:lnTo>
                  <a:lnTo>
                    <a:pt x="0" y="1105123"/>
                  </a:lnTo>
                  <a:cubicBezTo>
                    <a:pt x="436552" y="1187133"/>
                    <a:pt x="844896" y="1125289"/>
                    <a:pt x="1065187" y="826826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360" name="Google Shape;360;p20"/>
          <p:cNvGrpSpPr/>
          <p:nvPr/>
        </p:nvGrpSpPr>
        <p:grpSpPr>
          <a:xfrm>
            <a:off x="-1451175" y="-1039259"/>
            <a:ext cx="15156912" cy="9277773"/>
            <a:chOff x="-1088381" y="-779443"/>
            <a:chExt cx="11367684" cy="6958330"/>
          </a:xfrm>
        </p:grpSpPr>
        <p:grpSp>
          <p:nvGrpSpPr>
            <p:cNvPr id="361" name="Google Shape;361;p20"/>
            <p:cNvGrpSpPr/>
            <p:nvPr/>
          </p:nvGrpSpPr>
          <p:grpSpPr>
            <a:xfrm>
              <a:off x="-1088381" y="870271"/>
              <a:ext cx="11367684" cy="4697645"/>
              <a:chOff x="-1136806" y="506409"/>
              <a:chExt cx="11367684" cy="4697645"/>
            </a:xfrm>
          </p:grpSpPr>
          <p:sp>
            <p:nvSpPr>
              <p:cNvPr id="362" name="Google Shape;362;p20"/>
              <p:cNvSpPr/>
              <p:nvPr/>
            </p:nvSpPr>
            <p:spPr>
              <a:xfrm rot="2011081">
                <a:off x="-812639" y="828741"/>
                <a:ext cx="1672699" cy="1677809"/>
              </a:xfrm>
              <a:custGeom>
                <a:avLst/>
                <a:gdLst/>
                <a:ahLst/>
                <a:cxnLst/>
                <a:rect l="l" t="t" r="r" b="b"/>
                <a:pathLst>
                  <a:path w="2414805" h="2422182" extrusionOk="0">
                    <a:moveTo>
                      <a:pt x="1352508" y="39350"/>
                    </a:moveTo>
                    <a:cubicBezTo>
                      <a:pt x="1571455" y="-29216"/>
                      <a:pt x="1828014" y="-13083"/>
                      <a:pt x="2010694" y="126738"/>
                    </a:cubicBezTo>
                    <a:cubicBezTo>
                      <a:pt x="2072483" y="173793"/>
                      <a:pt x="2126212" y="235637"/>
                      <a:pt x="2145017" y="310925"/>
                    </a:cubicBezTo>
                    <a:cubicBezTo>
                      <a:pt x="2181285" y="461501"/>
                      <a:pt x="2068453" y="609389"/>
                      <a:pt x="1939502" y="695432"/>
                    </a:cubicBezTo>
                    <a:cubicBezTo>
                      <a:pt x="1810551" y="781476"/>
                      <a:pt x="1657422" y="832565"/>
                      <a:pt x="1543247" y="936086"/>
                    </a:cubicBezTo>
                    <a:cubicBezTo>
                      <a:pt x="1508323" y="967008"/>
                      <a:pt x="1477429" y="1004652"/>
                      <a:pt x="1463996" y="1050363"/>
                    </a:cubicBezTo>
                    <a:cubicBezTo>
                      <a:pt x="1433102" y="1160606"/>
                      <a:pt x="1524442" y="1270849"/>
                      <a:pt x="1627871" y="1317904"/>
                    </a:cubicBezTo>
                    <a:cubicBezTo>
                      <a:pt x="1731301" y="1364960"/>
                      <a:pt x="1849505" y="1373026"/>
                      <a:pt x="1955621" y="1413359"/>
                    </a:cubicBezTo>
                    <a:cubicBezTo>
                      <a:pt x="2130242" y="1479236"/>
                      <a:pt x="2261879" y="1627124"/>
                      <a:pt x="2349189" y="1792489"/>
                    </a:cubicBezTo>
                    <a:cubicBezTo>
                      <a:pt x="2406948" y="1902732"/>
                      <a:pt x="2445902" y="2041209"/>
                      <a:pt x="2381427" y="2147419"/>
                    </a:cubicBezTo>
                    <a:cubicBezTo>
                      <a:pt x="2339787" y="2215985"/>
                      <a:pt x="2261879" y="2254973"/>
                      <a:pt x="2185314" y="2277829"/>
                    </a:cubicBezTo>
                    <a:cubicBezTo>
                      <a:pt x="1819954" y="2386728"/>
                      <a:pt x="1418326" y="2205229"/>
                      <a:pt x="1160425" y="1925588"/>
                    </a:cubicBezTo>
                    <a:cubicBezTo>
                      <a:pt x="1136247" y="1898699"/>
                      <a:pt x="1110725" y="1870466"/>
                      <a:pt x="1077144" y="1855677"/>
                    </a:cubicBezTo>
                    <a:cubicBezTo>
                      <a:pt x="1043563" y="1840889"/>
                      <a:pt x="999236" y="1844922"/>
                      <a:pt x="977745" y="1874499"/>
                    </a:cubicBezTo>
                    <a:cubicBezTo>
                      <a:pt x="968342" y="1889288"/>
                      <a:pt x="964312" y="1906766"/>
                      <a:pt x="961626" y="1922899"/>
                    </a:cubicBezTo>
                    <a:cubicBezTo>
                      <a:pt x="926702" y="2108430"/>
                      <a:pt x="854167" y="2312784"/>
                      <a:pt x="680889" y="2390761"/>
                    </a:cubicBezTo>
                    <a:cubicBezTo>
                      <a:pt x="561341" y="2444538"/>
                      <a:pt x="421645" y="2423027"/>
                      <a:pt x="300753" y="2373284"/>
                    </a:cubicBezTo>
                    <a:cubicBezTo>
                      <a:pt x="182548" y="2323540"/>
                      <a:pt x="69717" y="2241529"/>
                      <a:pt x="24047" y="2121875"/>
                    </a:cubicBezTo>
                    <a:cubicBezTo>
                      <a:pt x="-32369" y="1975332"/>
                      <a:pt x="21360" y="1812655"/>
                      <a:pt x="73746" y="1666112"/>
                    </a:cubicBezTo>
                    <a:cubicBezTo>
                      <a:pt x="178519" y="1375715"/>
                      <a:pt x="283291" y="1085318"/>
                      <a:pt x="389407" y="793576"/>
                    </a:cubicBezTo>
                    <a:cubicBezTo>
                      <a:pt x="427018" y="690055"/>
                      <a:pt x="475374" y="575778"/>
                      <a:pt x="565371" y="507212"/>
                    </a:cubicBezTo>
                    <a:cubicBezTo>
                      <a:pt x="625817" y="461501"/>
                      <a:pt x="702381" y="446713"/>
                      <a:pt x="765513" y="406380"/>
                    </a:cubicBezTo>
                    <a:cubicBezTo>
                      <a:pt x="965655" y="277314"/>
                      <a:pt x="1116098" y="111949"/>
                      <a:pt x="1352508" y="39350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grpSp>
            <p:nvGrpSpPr>
              <p:cNvPr id="363" name="Google Shape;363;p20"/>
              <p:cNvGrpSpPr/>
              <p:nvPr/>
            </p:nvGrpSpPr>
            <p:grpSpPr>
              <a:xfrm>
                <a:off x="8268516" y="3472706"/>
                <a:ext cx="1962362" cy="1731348"/>
                <a:chOff x="6730953" y="3918493"/>
                <a:chExt cx="1962362" cy="1731348"/>
              </a:xfrm>
            </p:grpSpPr>
            <p:sp>
              <p:nvSpPr>
                <p:cNvPr id="364" name="Google Shape;364;p20"/>
                <p:cNvSpPr/>
                <p:nvPr/>
              </p:nvSpPr>
              <p:spPr>
                <a:xfrm>
                  <a:off x="7606240" y="3993966"/>
                  <a:ext cx="989494" cy="733535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9494" h="733535" extrusionOk="0">
                      <a:moveTo>
                        <a:pt x="248676" y="549786"/>
                      </a:moveTo>
                      <a:cubicBezTo>
                        <a:pt x="374940" y="588774"/>
                        <a:pt x="481056" y="704395"/>
                        <a:pt x="607321" y="729940"/>
                      </a:cubicBezTo>
                      <a:cubicBezTo>
                        <a:pt x="694631" y="747417"/>
                        <a:pt x="784628" y="699018"/>
                        <a:pt x="842387" y="631796"/>
                      </a:cubicBezTo>
                      <a:cubicBezTo>
                        <a:pt x="898803" y="565919"/>
                        <a:pt x="1010291" y="376354"/>
                        <a:pt x="986113" y="284933"/>
                      </a:cubicBezTo>
                      <a:cubicBezTo>
                        <a:pt x="957905" y="182756"/>
                        <a:pt x="832985" y="178723"/>
                        <a:pt x="745674" y="130323"/>
                      </a:cubicBezTo>
                      <a:cubicBezTo>
                        <a:pt x="585829" y="42935"/>
                        <a:pt x="459564" y="-39076"/>
                        <a:pt x="267481" y="20080"/>
                      </a:cubicBezTo>
                      <a:cubicBezTo>
                        <a:pt x="119725" y="65790"/>
                        <a:pt x="-15941" y="198889"/>
                        <a:pt x="1521" y="365598"/>
                      </a:cubicBezTo>
                      <a:cubicBezTo>
                        <a:pt x="16296" y="526930"/>
                        <a:pt x="121069" y="509453"/>
                        <a:pt x="248676" y="54978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5" name="Google Shape;365;p20"/>
                <p:cNvSpPr/>
                <p:nvPr/>
              </p:nvSpPr>
              <p:spPr>
                <a:xfrm>
                  <a:off x="7374821" y="4790720"/>
                  <a:ext cx="983997" cy="859121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983997" h="859121" extrusionOk="0">
                      <a:moveTo>
                        <a:pt x="664119" y="406"/>
                      </a:moveTo>
                      <a:cubicBezTo>
                        <a:pt x="462633" y="-7660"/>
                        <a:pt x="261148" y="105272"/>
                        <a:pt x="133540" y="255849"/>
                      </a:cubicBezTo>
                      <a:cubicBezTo>
                        <a:pt x="23395" y="384914"/>
                        <a:pt x="-54513" y="574479"/>
                        <a:pt x="47573" y="730433"/>
                      </a:cubicBezTo>
                      <a:cubicBezTo>
                        <a:pt x="232940" y="1016797"/>
                        <a:pt x="502931" y="751944"/>
                        <a:pt x="696357" y="639012"/>
                      </a:cubicBezTo>
                      <a:cubicBezTo>
                        <a:pt x="748743" y="609434"/>
                        <a:pt x="805159" y="586579"/>
                        <a:pt x="853515" y="550279"/>
                      </a:cubicBezTo>
                      <a:cubicBezTo>
                        <a:pt x="1108730" y="356681"/>
                        <a:pt x="959631" y="11162"/>
                        <a:pt x="664119" y="406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6" name="Google Shape;366;p20"/>
                <p:cNvSpPr/>
                <p:nvPr/>
              </p:nvSpPr>
              <p:spPr>
                <a:xfrm>
                  <a:off x="6866202" y="4524993"/>
                  <a:ext cx="679468" cy="589657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679468" h="589657" extrusionOk="0">
                      <a:moveTo>
                        <a:pt x="515895" y="353522"/>
                      </a:moveTo>
                      <a:cubicBezTo>
                        <a:pt x="549476" y="319911"/>
                        <a:pt x="612608" y="346800"/>
                        <a:pt x="647532" y="309156"/>
                      </a:cubicBezTo>
                      <a:cubicBezTo>
                        <a:pt x="694546" y="259412"/>
                        <a:pt x="683800" y="169335"/>
                        <a:pt x="652905" y="112869"/>
                      </a:cubicBezTo>
                      <a:cubicBezTo>
                        <a:pt x="592460" y="1281"/>
                        <a:pt x="294261" y="-52497"/>
                        <a:pt x="241875" y="69847"/>
                      </a:cubicBezTo>
                      <a:cubicBezTo>
                        <a:pt x="65911" y="124969"/>
                        <a:pt x="-38862" y="213701"/>
                        <a:pt x="13524" y="349489"/>
                      </a:cubicBezTo>
                      <a:cubicBezTo>
                        <a:pt x="83373" y="525609"/>
                        <a:pt x="419182" y="728618"/>
                        <a:pt x="497090" y="458388"/>
                      </a:cubicBezTo>
                      <a:cubicBezTo>
                        <a:pt x="509179" y="418055"/>
                        <a:pt x="482314" y="385788"/>
                        <a:pt x="515895" y="35352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7" name="Google Shape;367;p20"/>
                <p:cNvSpPr/>
                <p:nvPr/>
              </p:nvSpPr>
              <p:spPr>
                <a:xfrm>
                  <a:off x="7018173" y="3918493"/>
                  <a:ext cx="450521" cy="4681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50521" h="468166" extrusionOk="0">
                      <a:moveTo>
                        <a:pt x="134230" y="450483"/>
                      </a:moveTo>
                      <a:cubicBezTo>
                        <a:pt x="221541" y="486782"/>
                        <a:pt x="343775" y="466616"/>
                        <a:pt x="409594" y="395361"/>
                      </a:cubicBezTo>
                      <a:cubicBezTo>
                        <a:pt x="506307" y="291839"/>
                        <a:pt x="418996" y="48498"/>
                        <a:pt x="279300" y="8165"/>
                      </a:cubicBezTo>
                      <a:cubicBezTo>
                        <a:pt x="181244" y="-20069"/>
                        <a:pt x="80501" y="28331"/>
                        <a:pt x="50950" y="100930"/>
                      </a:cubicBezTo>
                      <a:cubicBezTo>
                        <a:pt x="-55166" y="193696"/>
                        <a:pt x="20055" y="403427"/>
                        <a:pt x="134230" y="450483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8" name="Google Shape;368;p20"/>
                <p:cNvSpPr/>
                <p:nvPr/>
              </p:nvSpPr>
              <p:spPr>
                <a:xfrm>
                  <a:off x="6757659" y="5205962"/>
                  <a:ext cx="435900" cy="34261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435900" h="342612" extrusionOk="0">
                      <a:moveTo>
                        <a:pt x="95203" y="12694"/>
                      </a:moveTo>
                      <a:cubicBezTo>
                        <a:pt x="-43151" y="-4784"/>
                        <a:pt x="-9570" y="195536"/>
                        <a:pt x="62965" y="256036"/>
                      </a:cubicBezTo>
                      <a:cubicBezTo>
                        <a:pt x="132813" y="315191"/>
                        <a:pt x="400117" y="409301"/>
                        <a:pt x="433698" y="270825"/>
                      </a:cubicBezTo>
                      <a:cubicBezTo>
                        <a:pt x="459220" y="161926"/>
                        <a:pt x="257734" y="-54528"/>
                        <a:pt x="95203" y="1269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69" name="Google Shape;369;p20"/>
                <p:cNvSpPr/>
                <p:nvPr/>
              </p:nvSpPr>
              <p:spPr>
                <a:xfrm>
                  <a:off x="6730953" y="4336971"/>
                  <a:ext cx="250183" cy="225252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250183" h="225252" extrusionOk="0">
                      <a:moveTo>
                        <a:pt x="189071" y="210814"/>
                      </a:moveTo>
                      <a:cubicBezTo>
                        <a:pt x="281754" y="169137"/>
                        <a:pt x="258919" y="73682"/>
                        <a:pt x="187728" y="21249"/>
                      </a:cubicBezTo>
                      <a:lnTo>
                        <a:pt x="131312" y="2427"/>
                      </a:lnTo>
                      <a:cubicBezTo>
                        <a:pt x="-90323" y="-31184"/>
                        <a:pt x="-4355" y="296858"/>
                        <a:pt x="189071" y="210814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  <p:sp>
              <p:nvSpPr>
                <p:cNvPr id="370" name="Google Shape;370;p20"/>
                <p:cNvSpPr/>
                <p:nvPr/>
              </p:nvSpPr>
              <p:spPr>
                <a:xfrm>
                  <a:off x="8380179" y="4687148"/>
                  <a:ext cx="313136" cy="349966"/>
                </a:xfrm>
                <a:custGeom>
                  <a:avLst/>
                  <a:gdLst/>
                  <a:ahLst/>
                  <a:cxnLst/>
                  <a:rect l="l" t="t" r="r" b="b"/>
                  <a:pathLst>
                    <a:path w="313136" h="349966" extrusionOk="0">
                      <a:moveTo>
                        <a:pt x="177250" y="1802"/>
                      </a:moveTo>
                      <a:cubicBezTo>
                        <a:pt x="138296" y="-6265"/>
                        <a:pt x="126207" y="13902"/>
                        <a:pt x="100685" y="39446"/>
                      </a:cubicBezTo>
                      <a:cubicBezTo>
                        <a:pt x="65761" y="69023"/>
                        <a:pt x="21434" y="66335"/>
                        <a:pt x="5316" y="142967"/>
                      </a:cubicBezTo>
                      <a:cubicBezTo>
                        <a:pt x="-14833" y="237077"/>
                        <a:pt x="21434" y="332532"/>
                        <a:pt x="128893" y="348665"/>
                      </a:cubicBezTo>
                      <a:cubicBezTo>
                        <a:pt x="224263" y="363454"/>
                        <a:pt x="318290" y="249177"/>
                        <a:pt x="312916" y="157756"/>
                      </a:cubicBezTo>
                      <a:cubicBezTo>
                        <a:pt x="310230" y="98601"/>
                        <a:pt x="236352" y="15246"/>
                        <a:pt x="177250" y="1802"/>
                      </a:cubicBezTo>
                      <a:close/>
                    </a:path>
                  </a:pathLst>
                </a:custGeom>
                <a:solidFill>
                  <a:schemeClr val="lt2"/>
                </a:solidFill>
                <a:ln>
                  <a:noFill/>
                </a:ln>
              </p:spPr>
              <p:txBody>
                <a:bodyPr spcFirstLastPara="1" wrap="square" lIns="91425" tIns="45700" rIns="91425" bIns="45700" anchor="ctr" anchorCtr="0">
                  <a:noAutofit/>
                </a:bodyPr>
                <a:lstStyle/>
                <a:p>
                  <a:pPr marL="0" marR="0" lvl="0" indent="0" algn="l" rtl="0">
                    <a:spcBef>
                      <a:spcPts val="0"/>
                    </a:spcBef>
                    <a:spcAft>
                      <a:spcPts val="0"/>
                    </a:spcAft>
                    <a:buNone/>
                  </a:pPr>
                  <a:endParaRPr sz="2400">
                    <a:solidFill>
                      <a:srgbClr val="000000"/>
                    </a:solidFill>
                    <a:latin typeface="Calibri"/>
                    <a:ea typeface="Calibri"/>
                    <a:cs typeface="Calibri"/>
                    <a:sym typeface="Calibri"/>
                  </a:endParaRPr>
                </a:p>
              </p:txBody>
            </p:sp>
          </p:grpSp>
        </p:grpSp>
        <p:grpSp>
          <p:nvGrpSpPr>
            <p:cNvPr id="371" name="Google Shape;371;p20"/>
            <p:cNvGrpSpPr/>
            <p:nvPr/>
          </p:nvGrpSpPr>
          <p:grpSpPr>
            <a:xfrm>
              <a:off x="-686621" y="4234654"/>
              <a:ext cx="1939837" cy="1944233"/>
              <a:chOff x="1770054" y="3336266"/>
              <a:chExt cx="1939837" cy="1944233"/>
            </a:xfrm>
          </p:grpSpPr>
          <p:sp>
            <p:nvSpPr>
              <p:cNvPr id="372" name="Google Shape;372;p20"/>
              <p:cNvSpPr/>
              <p:nvPr/>
            </p:nvSpPr>
            <p:spPr>
              <a:xfrm>
                <a:off x="2019896" y="3462828"/>
                <a:ext cx="1278761" cy="1505763"/>
              </a:xfrm>
              <a:custGeom>
                <a:avLst/>
                <a:gdLst/>
                <a:ahLst/>
                <a:cxnLst/>
                <a:rect l="l" t="t" r="r" b="b"/>
                <a:pathLst>
                  <a:path w="1278761" h="1505763" extrusionOk="0">
                    <a:moveTo>
                      <a:pt x="789823" y="613061"/>
                    </a:moveTo>
                    <a:cubicBezTo>
                      <a:pt x="953698" y="426185"/>
                      <a:pt x="1117573" y="239309"/>
                      <a:pt x="1278761" y="51088"/>
                    </a:cubicBezTo>
                    <a:cubicBezTo>
                      <a:pt x="1251897" y="32266"/>
                      <a:pt x="1225032" y="14788"/>
                      <a:pt x="1196824" y="0"/>
                    </a:cubicBezTo>
                    <a:cubicBezTo>
                      <a:pt x="1194137" y="2689"/>
                      <a:pt x="1191451" y="6722"/>
                      <a:pt x="1188765" y="9411"/>
                    </a:cubicBezTo>
                    <a:cubicBezTo>
                      <a:pt x="964444" y="286364"/>
                      <a:pt x="738780" y="564661"/>
                      <a:pt x="517146" y="845648"/>
                    </a:cubicBezTo>
                    <a:cubicBezTo>
                      <a:pt x="345212" y="1063445"/>
                      <a:pt x="171934" y="1281243"/>
                      <a:pt x="0" y="1499042"/>
                    </a:cubicBezTo>
                    <a:cubicBezTo>
                      <a:pt x="1343" y="1501730"/>
                      <a:pt x="4030" y="1503075"/>
                      <a:pt x="5373" y="1505764"/>
                    </a:cubicBezTo>
                    <a:cubicBezTo>
                      <a:pt x="261931" y="1203267"/>
                      <a:pt x="529235" y="911525"/>
                      <a:pt x="789823" y="61306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3" name="Google Shape;373;p20"/>
              <p:cNvSpPr/>
              <p:nvPr/>
            </p:nvSpPr>
            <p:spPr>
              <a:xfrm>
                <a:off x="1802292" y="3336266"/>
                <a:ext cx="1027576" cy="1254540"/>
              </a:xfrm>
              <a:custGeom>
                <a:avLst/>
                <a:gdLst/>
                <a:ahLst/>
                <a:cxnLst/>
                <a:rect l="l" t="t" r="r" b="b"/>
                <a:pathLst>
                  <a:path w="1027576" h="1254540" extrusionOk="0">
                    <a:moveTo>
                      <a:pt x="25522" y="1230341"/>
                    </a:moveTo>
                    <a:cubicBezTo>
                      <a:pt x="323720" y="863311"/>
                      <a:pt x="623262" y="497626"/>
                      <a:pt x="922804" y="131940"/>
                    </a:cubicBezTo>
                    <a:cubicBezTo>
                      <a:pt x="957728" y="88918"/>
                      <a:pt x="992652" y="45897"/>
                      <a:pt x="1027576" y="4219"/>
                    </a:cubicBezTo>
                    <a:cubicBezTo>
                      <a:pt x="973847" y="-1158"/>
                      <a:pt x="920117" y="-1158"/>
                      <a:pt x="866388" y="2875"/>
                    </a:cubicBezTo>
                    <a:cubicBezTo>
                      <a:pt x="757585" y="164207"/>
                      <a:pt x="646097" y="322849"/>
                      <a:pt x="534608" y="482837"/>
                    </a:cubicBezTo>
                    <a:cubicBezTo>
                      <a:pt x="358644" y="734246"/>
                      <a:pt x="182680" y="985655"/>
                      <a:pt x="0" y="1233030"/>
                    </a:cubicBezTo>
                    <a:cubicBezTo>
                      <a:pt x="1343" y="1239752"/>
                      <a:pt x="4030" y="1247819"/>
                      <a:pt x="6716" y="1254541"/>
                    </a:cubicBezTo>
                    <a:cubicBezTo>
                      <a:pt x="13432" y="1245130"/>
                      <a:pt x="18805" y="1238408"/>
                      <a:pt x="25522" y="1230341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4" name="Google Shape;374;p20"/>
              <p:cNvSpPr/>
              <p:nvPr/>
            </p:nvSpPr>
            <p:spPr>
              <a:xfrm>
                <a:off x="1877513" y="3355274"/>
                <a:ext cx="1250553" cy="1457363"/>
              </a:xfrm>
              <a:custGeom>
                <a:avLst/>
                <a:gdLst/>
                <a:ahLst/>
                <a:cxnLst/>
                <a:rect l="l" t="t" r="r" b="b"/>
                <a:pathLst>
                  <a:path w="1250553" h="1457363" extrusionOk="0">
                    <a:moveTo>
                      <a:pt x="1250553" y="61844"/>
                    </a:moveTo>
                    <a:cubicBezTo>
                      <a:pt x="1187421" y="33611"/>
                      <a:pt x="1120259" y="13444"/>
                      <a:pt x="1053098" y="0"/>
                    </a:cubicBezTo>
                    <a:cubicBezTo>
                      <a:pt x="796539" y="337452"/>
                      <a:pt x="537295" y="673560"/>
                      <a:pt x="286109" y="1015046"/>
                    </a:cubicBezTo>
                    <a:cubicBezTo>
                      <a:pt x="190740" y="1144111"/>
                      <a:pt x="92683" y="1271832"/>
                      <a:pt x="0" y="1403587"/>
                    </a:cubicBezTo>
                    <a:cubicBezTo>
                      <a:pt x="9403" y="1422409"/>
                      <a:pt x="20149" y="1439886"/>
                      <a:pt x="30894" y="1457364"/>
                    </a:cubicBezTo>
                    <a:cubicBezTo>
                      <a:pt x="55073" y="1429131"/>
                      <a:pt x="77908" y="1400898"/>
                      <a:pt x="102086" y="1372665"/>
                    </a:cubicBezTo>
                    <a:cubicBezTo>
                      <a:pt x="427149" y="982779"/>
                      <a:pt x="765645" y="606338"/>
                      <a:pt x="1102797" y="227209"/>
                    </a:cubicBezTo>
                    <a:cubicBezTo>
                      <a:pt x="1151154" y="172087"/>
                      <a:pt x="1200854" y="116965"/>
                      <a:pt x="1250553" y="61844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5" name="Google Shape;375;p20"/>
              <p:cNvSpPr/>
              <p:nvPr/>
            </p:nvSpPr>
            <p:spPr>
              <a:xfrm>
                <a:off x="1770054" y="3383507"/>
                <a:ext cx="667588" cy="863125"/>
              </a:xfrm>
              <a:custGeom>
                <a:avLst/>
                <a:gdLst/>
                <a:ahLst/>
                <a:cxnLst/>
                <a:rect l="l" t="t" r="r" b="b"/>
                <a:pathLst>
                  <a:path w="667588" h="863125" extrusionOk="0">
                    <a:moveTo>
                      <a:pt x="373420" y="383163"/>
                    </a:moveTo>
                    <a:cubicBezTo>
                      <a:pt x="472819" y="256787"/>
                      <a:pt x="569532" y="129066"/>
                      <a:pt x="667589" y="0"/>
                    </a:cubicBezTo>
                    <a:cubicBezTo>
                      <a:pt x="533265" y="43022"/>
                      <a:pt x="407001" y="116966"/>
                      <a:pt x="298199" y="220487"/>
                    </a:cubicBezTo>
                    <a:cubicBezTo>
                      <a:pt x="288796" y="237965"/>
                      <a:pt x="280736" y="258131"/>
                      <a:pt x="269991" y="275609"/>
                    </a:cubicBezTo>
                    <a:cubicBezTo>
                      <a:pt x="256558" y="297120"/>
                      <a:pt x="240439" y="317286"/>
                      <a:pt x="227007" y="337452"/>
                    </a:cubicBezTo>
                    <a:cubicBezTo>
                      <a:pt x="182680" y="399296"/>
                      <a:pt x="145070" y="463829"/>
                      <a:pt x="107459" y="529706"/>
                    </a:cubicBezTo>
                    <a:cubicBezTo>
                      <a:pt x="89997" y="560628"/>
                      <a:pt x="69848" y="586172"/>
                      <a:pt x="48357" y="613061"/>
                    </a:cubicBezTo>
                    <a:cubicBezTo>
                      <a:pt x="21492" y="693727"/>
                      <a:pt x="4030" y="778426"/>
                      <a:pt x="0" y="863125"/>
                    </a:cubicBezTo>
                    <a:cubicBezTo>
                      <a:pt x="124921" y="703138"/>
                      <a:pt x="248499" y="543151"/>
                      <a:pt x="373420" y="383163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6" name="Google Shape;376;p20"/>
              <p:cNvSpPr/>
              <p:nvPr/>
            </p:nvSpPr>
            <p:spPr>
              <a:xfrm>
                <a:off x="3035383" y="4432163"/>
                <a:ext cx="667588" cy="802625"/>
              </a:xfrm>
              <a:custGeom>
                <a:avLst/>
                <a:gdLst/>
                <a:ahLst/>
                <a:cxnLst/>
                <a:rect l="l" t="t" r="r" b="b"/>
                <a:pathLst>
                  <a:path w="667588" h="802625" extrusionOk="0">
                    <a:moveTo>
                      <a:pt x="591024" y="274264"/>
                    </a:moveTo>
                    <a:cubicBezTo>
                      <a:pt x="629978" y="186876"/>
                      <a:pt x="655499" y="94110"/>
                      <a:pt x="667589" y="0"/>
                    </a:cubicBezTo>
                    <a:cubicBezTo>
                      <a:pt x="642067" y="32267"/>
                      <a:pt x="615202" y="63188"/>
                      <a:pt x="589681" y="95455"/>
                    </a:cubicBezTo>
                    <a:cubicBezTo>
                      <a:pt x="398941" y="326697"/>
                      <a:pt x="210888" y="560628"/>
                      <a:pt x="13432" y="786493"/>
                    </a:cubicBezTo>
                    <a:cubicBezTo>
                      <a:pt x="9403" y="791871"/>
                      <a:pt x="4030" y="797248"/>
                      <a:pt x="0" y="802626"/>
                    </a:cubicBezTo>
                    <a:cubicBezTo>
                      <a:pt x="38954" y="790526"/>
                      <a:pt x="77908" y="775737"/>
                      <a:pt x="114175" y="758260"/>
                    </a:cubicBezTo>
                    <a:cubicBezTo>
                      <a:pt x="271334" y="595584"/>
                      <a:pt x="431179" y="435596"/>
                      <a:pt x="591024" y="274264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7" name="Google Shape;377;p20"/>
              <p:cNvSpPr/>
              <p:nvPr/>
            </p:nvSpPr>
            <p:spPr>
              <a:xfrm>
                <a:off x="2206606" y="3565005"/>
                <a:ext cx="1316371" cy="1589118"/>
              </a:xfrm>
              <a:custGeom>
                <a:avLst/>
                <a:gdLst/>
                <a:ahLst/>
                <a:cxnLst/>
                <a:rect l="l" t="t" r="r" b="b"/>
                <a:pathLst>
                  <a:path w="1316371" h="1589118" extrusionOk="0">
                    <a:moveTo>
                      <a:pt x="1316372" y="168054"/>
                    </a:moveTo>
                    <a:cubicBezTo>
                      <a:pt x="1288164" y="129066"/>
                      <a:pt x="1255926" y="91422"/>
                      <a:pt x="1219659" y="56466"/>
                    </a:cubicBezTo>
                    <a:cubicBezTo>
                      <a:pt x="1199510" y="36300"/>
                      <a:pt x="1179362" y="18822"/>
                      <a:pt x="1159213" y="0"/>
                    </a:cubicBezTo>
                    <a:cubicBezTo>
                      <a:pt x="924147" y="329386"/>
                      <a:pt x="682364" y="653394"/>
                      <a:pt x="437895" y="976058"/>
                    </a:cubicBezTo>
                    <a:cubicBezTo>
                      <a:pt x="291482" y="1169656"/>
                      <a:pt x="145070" y="1363254"/>
                      <a:pt x="0" y="1556852"/>
                    </a:cubicBezTo>
                    <a:cubicBezTo>
                      <a:pt x="17462" y="1567608"/>
                      <a:pt x="34924" y="1578363"/>
                      <a:pt x="52386" y="1589119"/>
                    </a:cubicBezTo>
                    <a:cubicBezTo>
                      <a:pt x="222977" y="1394176"/>
                      <a:pt x="390882" y="1196544"/>
                      <a:pt x="562816" y="1002946"/>
                    </a:cubicBezTo>
                    <a:cubicBezTo>
                      <a:pt x="811315" y="721960"/>
                      <a:pt x="1062500" y="445007"/>
                      <a:pt x="1316372" y="168054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8" name="Google Shape;378;p20"/>
              <p:cNvSpPr/>
              <p:nvPr/>
            </p:nvSpPr>
            <p:spPr>
              <a:xfrm>
                <a:off x="2754646" y="4141766"/>
                <a:ext cx="955245" cy="1138733"/>
              </a:xfrm>
              <a:custGeom>
                <a:avLst/>
                <a:gdLst/>
                <a:ahLst/>
                <a:cxnLst/>
                <a:rect l="l" t="t" r="r" b="b"/>
                <a:pathLst>
                  <a:path w="955245" h="1138733" extrusionOk="0">
                    <a:moveTo>
                      <a:pt x="0" y="1138734"/>
                    </a:moveTo>
                    <a:cubicBezTo>
                      <a:pt x="18805" y="1138734"/>
                      <a:pt x="37611" y="1137389"/>
                      <a:pt x="56416" y="1136045"/>
                    </a:cubicBezTo>
                    <a:cubicBezTo>
                      <a:pt x="255215" y="924969"/>
                      <a:pt x="455357" y="715238"/>
                      <a:pt x="652813" y="502817"/>
                    </a:cubicBezTo>
                    <a:cubicBezTo>
                      <a:pt x="753556" y="395263"/>
                      <a:pt x="854299" y="287708"/>
                      <a:pt x="955041" y="180154"/>
                    </a:cubicBezTo>
                    <a:cubicBezTo>
                      <a:pt x="956384" y="119654"/>
                      <a:pt x="951012" y="60499"/>
                      <a:pt x="941609" y="0"/>
                    </a:cubicBezTo>
                    <a:cubicBezTo>
                      <a:pt x="719975" y="275609"/>
                      <a:pt x="496998" y="548528"/>
                      <a:pt x="268647" y="818759"/>
                    </a:cubicBezTo>
                    <a:cubicBezTo>
                      <a:pt x="178651" y="926313"/>
                      <a:pt x="89997" y="1032523"/>
                      <a:pt x="0" y="1138734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79" name="Google Shape;379;p20"/>
              <p:cNvSpPr/>
              <p:nvPr/>
            </p:nvSpPr>
            <p:spPr>
              <a:xfrm>
                <a:off x="2508834" y="3868847"/>
                <a:ext cx="1167272" cy="1392831"/>
              </a:xfrm>
              <a:custGeom>
                <a:avLst/>
                <a:gdLst/>
                <a:ahLst/>
                <a:cxnLst/>
                <a:rect l="l" t="t" r="r" b="b"/>
                <a:pathLst>
                  <a:path w="1167272" h="1392831" extrusionOk="0">
                    <a:moveTo>
                      <a:pt x="663559" y="716582"/>
                    </a:moveTo>
                    <a:cubicBezTo>
                      <a:pt x="832807" y="539117"/>
                      <a:pt x="1000711" y="358963"/>
                      <a:pt x="1167273" y="178810"/>
                    </a:cubicBezTo>
                    <a:cubicBezTo>
                      <a:pt x="1149811" y="116966"/>
                      <a:pt x="1126976" y="57811"/>
                      <a:pt x="1097424" y="0"/>
                    </a:cubicBezTo>
                    <a:cubicBezTo>
                      <a:pt x="936236" y="205698"/>
                      <a:pt x="772361" y="410052"/>
                      <a:pt x="609829" y="614406"/>
                    </a:cubicBezTo>
                    <a:cubicBezTo>
                      <a:pt x="405657" y="869848"/>
                      <a:pt x="202829" y="1127978"/>
                      <a:pt x="0" y="1384765"/>
                    </a:cubicBezTo>
                    <a:cubicBezTo>
                      <a:pt x="13432" y="1387454"/>
                      <a:pt x="25522" y="1390142"/>
                      <a:pt x="38954" y="1392831"/>
                    </a:cubicBezTo>
                    <a:cubicBezTo>
                      <a:pt x="243126" y="1164278"/>
                      <a:pt x="451328" y="939758"/>
                      <a:pt x="663559" y="716582"/>
                    </a:cubicBezTo>
                    <a:close/>
                  </a:path>
                </a:pathLst>
              </a:custGeom>
              <a:solidFill>
                <a:schemeClr val="dk1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380" name="Google Shape;380;p20"/>
            <p:cNvGrpSpPr/>
            <p:nvPr/>
          </p:nvGrpSpPr>
          <p:grpSpPr>
            <a:xfrm>
              <a:off x="6910049" y="-779444"/>
              <a:ext cx="1714977" cy="1718183"/>
              <a:chOff x="6050949" y="622044"/>
              <a:chExt cx="1714977" cy="1718183"/>
            </a:xfrm>
          </p:grpSpPr>
          <p:sp>
            <p:nvSpPr>
              <p:cNvPr id="381" name="Google Shape;381;p20"/>
              <p:cNvSpPr/>
              <p:nvPr/>
            </p:nvSpPr>
            <p:spPr>
              <a:xfrm>
                <a:off x="6503620" y="623388"/>
                <a:ext cx="298198" cy="201842"/>
              </a:xfrm>
              <a:custGeom>
                <a:avLst/>
                <a:gdLst/>
                <a:ahLst/>
                <a:cxnLst/>
                <a:rect l="l" t="t" r="r" b="b"/>
                <a:pathLst>
                  <a:path w="298198" h="201842" extrusionOk="0">
                    <a:moveTo>
                      <a:pt x="213575" y="120999"/>
                    </a:moveTo>
                    <a:cubicBezTo>
                      <a:pt x="243126" y="82010"/>
                      <a:pt x="269991" y="40333"/>
                      <a:pt x="298199" y="0"/>
                    </a:cubicBezTo>
                    <a:cubicBezTo>
                      <a:pt x="192083" y="13444"/>
                      <a:pt x="91340" y="45711"/>
                      <a:pt x="0" y="92766"/>
                    </a:cubicBezTo>
                    <a:cubicBezTo>
                      <a:pt x="14776" y="122343"/>
                      <a:pt x="30895" y="150576"/>
                      <a:pt x="53729" y="173432"/>
                    </a:cubicBezTo>
                    <a:cubicBezTo>
                      <a:pt x="118205" y="239309"/>
                      <a:pt x="171935" y="177465"/>
                      <a:pt x="213575" y="12099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2" name="Google Shape;382;p20"/>
              <p:cNvSpPr/>
              <p:nvPr/>
            </p:nvSpPr>
            <p:spPr>
              <a:xfrm>
                <a:off x="6221540" y="622044"/>
                <a:ext cx="993995" cy="555282"/>
              </a:xfrm>
              <a:custGeom>
                <a:avLst/>
                <a:gdLst/>
                <a:ahLst/>
                <a:cxnLst/>
                <a:rect l="l" t="t" r="r" b="b"/>
                <a:pathLst>
                  <a:path w="993995" h="555282" extrusionOk="0">
                    <a:moveTo>
                      <a:pt x="0" y="332075"/>
                    </a:moveTo>
                    <a:cubicBezTo>
                      <a:pt x="9403" y="419463"/>
                      <a:pt x="88654" y="496095"/>
                      <a:pt x="173278" y="525673"/>
                    </a:cubicBezTo>
                    <a:cubicBezTo>
                      <a:pt x="303572" y="572728"/>
                      <a:pt x="467447" y="559284"/>
                      <a:pt x="596397" y="516262"/>
                    </a:cubicBezTo>
                    <a:cubicBezTo>
                      <a:pt x="741467" y="467862"/>
                      <a:pt x="801912" y="357619"/>
                      <a:pt x="869074" y="229898"/>
                    </a:cubicBezTo>
                    <a:cubicBezTo>
                      <a:pt x="903999" y="164021"/>
                      <a:pt x="944296" y="103521"/>
                      <a:pt x="993995" y="52433"/>
                    </a:cubicBezTo>
                    <a:cubicBezTo>
                      <a:pt x="925490" y="25544"/>
                      <a:pt x="852955" y="8067"/>
                      <a:pt x="776391" y="0"/>
                    </a:cubicBezTo>
                    <a:cubicBezTo>
                      <a:pt x="728034" y="71255"/>
                      <a:pt x="681021" y="145199"/>
                      <a:pt x="629978" y="215109"/>
                    </a:cubicBezTo>
                    <a:cubicBezTo>
                      <a:pt x="564159" y="305186"/>
                      <a:pt x="470133" y="395263"/>
                      <a:pt x="347899" y="367030"/>
                    </a:cubicBezTo>
                    <a:cubicBezTo>
                      <a:pt x="244469" y="344175"/>
                      <a:pt x="193426" y="264853"/>
                      <a:pt x="147756" y="182843"/>
                    </a:cubicBezTo>
                    <a:cubicBezTo>
                      <a:pt x="92684" y="225864"/>
                      <a:pt x="42984" y="276953"/>
                      <a:pt x="0" y="332075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3" name="Google Shape;383;p20"/>
              <p:cNvSpPr/>
              <p:nvPr/>
            </p:nvSpPr>
            <p:spPr>
              <a:xfrm>
                <a:off x="6057665" y="1383866"/>
                <a:ext cx="1708261" cy="757632"/>
              </a:xfrm>
              <a:custGeom>
                <a:avLst/>
                <a:gdLst/>
                <a:ahLst/>
                <a:cxnLst/>
                <a:rect l="l" t="t" r="r" b="b"/>
                <a:pathLst>
                  <a:path w="1708261" h="757632" extrusionOk="0">
                    <a:moveTo>
                      <a:pt x="1707254" y="47526"/>
                    </a:moveTo>
                    <a:cubicBezTo>
                      <a:pt x="1687105" y="44837"/>
                      <a:pt x="1666957" y="40804"/>
                      <a:pt x="1646808" y="38115"/>
                    </a:cubicBezTo>
                    <a:cubicBezTo>
                      <a:pt x="1515171" y="15260"/>
                      <a:pt x="1341893" y="-43895"/>
                      <a:pt x="1229062" y="56937"/>
                    </a:cubicBezTo>
                    <a:cubicBezTo>
                      <a:pt x="1135035" y="141636"/>
                      <a:pt x="1096081" y="272046"/>
                      <a:pt x="995338" y="354056"/>
                    </a:cubicBezTo>
                    <a:cubicBezTo>
                      <a:pt x="887880" y="441445"/>
                      <a:pt x="748183" y="477744"/>
                      <a:pt x="611173" y="472366"/>
                    </a:cubicBezTo>
                    <a:cubicBezTo>
                      <a:pt x="393568" y="464300"/>
                      <a:pt x="169248" y="391701"/>
                      <a:pt x="0" y="253224"/>
                    </a:cubicBezTo>
                    <a:cubicBezTo>
                      <a:pt x="14776" y="331201"/>
                      <a:pt x="38954" y="406489"/>
                      <a:pt x="73878" y="476400"/>
                    </a:cubicBezTo>
                    <a:cubicBezTo>
                      <a:pt x="194769" y="515388"/>
                      <a:pt x="307601" y="585299"/>
                      <a:pt x="419090" y="648487"/>
                    </a:cubicBezTo>
                    <a:cubicBezTo>
                      <a:pt x="510430" y="699576"/>
                      <a:pt x="608486" y="753353"/>
                      <a:pt x="714602" y="757386"/>
                    </a:cubicBezTo>
                    <a:cubicBezTo>
                      <a:pt x="850269" y="762764"/>
                      <a:pt x="964444" y="679409"/>
                      <a:pt x="1055784" y="586643"/>
                    </a:cubicBezTo>
                    <a:cubicBezTo>
                      <a:pt x="1212943" y="428000"/>
                      <a:pt x="1418458" y="94581"/>
                      <a:pt x="1687105" y="196758"/>
                    </a:cubicBezTo>
                    <a:cubicBezTo>
                      <a:pt x="1691135" y="198102"/>
                      <a:pt x="1696508" y="200791"/>
                      <a:pt x="1700538" y="202136"/>
                    </a:cubicBezTo>
                    <a:cubicBezTo>
                      <a:pt x="1704567" y="167180"/>
                      <a:pt x="1707254" y="132225"/>
                      <a:pt x="1707254" y="95926"/>
                    </a:cubicBezTo>
                    <a:cubicBezTo>
                      <a:pt x="1708597" y="78448"/>
                      <a:pt x="1708597" y="63659"/>
                      <a:pt x="1707254" y="47526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4" name="Google Shape;384;p20"/>
              <p:cNvSpPr/>
              <p:nvPr/>
            </p:nvSpPr>
            <p:spPr>
              <a:xfrm>
                <a:off x="6050949" y="756487"/>
                <a:ext cx="1688448" cy="935722"/>
              </a:xfrm>
              <a:custGeom>
                <a:avLst/>
                <a:gdLst/>
                <a:ahLst/>
                <a:cxnLst/>
                <a:rect l="l" t="t" r="r" b="b"/>
                <a:pathLst>
                  <a:path w="1688448" h="935722" extrusionOk="0">
                    <a:moveTo>
                      <a:pt x="247155" y="840270"/>
                    </a:moveTo>
                    <a:cubicBezTo>
                      <a:pt x="381479" y="899425"/>
                      <a:pt x="544011" y="947824"/>
                      <a:pt x="691767" y="933036"/>
                    </a:cubicBezTo>
                    <a:cubicBezTo>
                      <a:pt x="838180" y="919591"/>
                      <a:pt x="925490" y="841614"/>
                      <a:pt x="1002055" y="723304"/>
                    </a:cubicBezTo>
                    <a:cubicBezTo>
                      <a:pt x="1065187" y="623816"/>
                      <a:pt x="1133692" y="531051"/>
                      <a:pt x="1247867" y="488029"/>
                    </a:cubicBezTo>
                    <a:cubicBezTo>
                      <a:pt x="1374131" y="440974"/>
                      <a:pt x="1513828" y="470551"/>
                      <a:pt x="1641435" y="496095"/>
                    </a:cubicBezTo>
                    <a:cubicBezTo>
                      <a:pt x="1656211" y="498784"/>
                      <a:pt x="1672330" y="501473"/>
                      <a:pt x="1688448" y="504162"/>
                    </a:cubicBezTo>
                    <a:cubicBezTo>
                      <a:pt x="1633376" y="294431"/>
                      <a:pt x="1501738" y="115621"/>
                      <a:pt x="1324431" y="0"/>
                    </a:cubicBezTo>
                    <a:cubicBezTo>
                      <a:pt x="1288164" y="24200"/>
                      <a:pt x="1255926" y="53777"/>
                      <a:pt x="1230405" y="94110"/>
                    </a:cubicBezTo>
                    <a:cubicBezTo>
                      <a:pt x="1160556" y="198976"/>
                      <a:pt x="1121603" y="321319"/>
                      <a:pt x="1031606" y="411396"/>
                    </a:cubicBezTo>
                    <a:cubicBezTo>
                      <a:pt x="858328" y="583483"/>
                      <a:pt x="539981" y="623816"/>
                      <a:pt x="314317" y="553906"/>
                    </a:cubicBezTo>
                    <a:cubicBezTo>
                      <a:pt x="214918" y="522984"/>
                      <a:pt x="126264" y="455762"/>
                      <a:pt x="69848" y="372408"/>
                    </a:cubicBezTo>
                    <a:cubicBezTo>
                      <a:pt x="33581" y="453073"/>
                      <a:pt x="9402" y="540462"/>
                      <a:pt x="0" y="631883"/>
                    </a:cubicBezTo>
                    <a:cubicBezTo>
                      <a:pt x="61789" y="720615"/>
                      <a:pt x="141040" y="793215"/>
                      <a:pt x="247155" y="84027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85" name="Google Shape;385;p20"/>
              <p:cNvSpPr/>
              <p:nvPr/>
            </p:nvSpPr>
            <p:spPr>
              <a:xfrm>
                <a:off x="6381386" y="1731225"/>
                <a:ext cx="1340550" cy="609002"/>
              </a:xfrm>
              <a:custGeom>
                <a:avLst/>
                <a:gdLst/>
                <a:ahLst/>
                <a:cxnLst/>
                <a:rect l="l" t="t" r="r" b="b"/>
                <a:pathLst>
                  <a:path w="1340550" h="609002" extrusionOk="0">
                    <a:moveTo>
                      <a:pt x="1000711" y="186851"/>
                    </a:moveTo>
                    <a:cubicBezTo>
                      <a:pt x="820717" y="385827"/>
                      <a:pt x="625948" y="610347"/>
                      <a:pt x="329093" y="565981"/>
                    </a:cubicBezTo>
                    <a:cubicBezTo>
                      <a:pt x="208202" y="547159"/>
                      <a:pt x="103429" y="490692"/>
                      <a:pt x="0" y="430193"/>
                    </a:cubicBezTo>
                    <a:cubicBezTo>
                      <a:pt x="145069" y="541781"/>
                      <a:pt x="326406" y="609002"/>
                      <a:pt x="523862" y="609002"/>
                    </a:cubicBezTo>
                    <a:cubicBezTo>
                      <a:pt x="903998" y="609002"/>
                      <a:pt x="1226375" y="362971"/>
                      <a:pt x="1340550" y="20141"/>
                    </a:cubicBezTo>
                    <a:cubicBezTo>
                      <a:pt x="1208913" y="-53803"/>
                      <a:pt x="1085335" y="92741"/>
                      <a:pt x="1000711" y="186851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386" name="Google Shape;386;p20"/>
          <p:cNvGrpSpPr/>
          <p:nvPr/>
        </p:nvGrpSpPr>
        <p:grpSpPr>
          <a:xfrm>
            <a:off x="84849" y="-1796174"/>
            <a:ext cx="14408695" cy="6124985"/>
            <a:chOff x="63637" y="-1347131"/>
            <a:chExt cx="10806521" cy="4593739"/>
          </a:xfrm>
        </p:grpSpPr>
        <p:sp>
          <p:nvSpPr>
            <p:cNvPr id="387" name="Google Shape;387;p20"/>
            <p:cNvSpPr/>
            <p:nvPr/>
          </p:nvSpPr>
          <p:spPr>
            <a:xfrm>
              <a:off x="7837119" y="1213422"/>
              <a:ext cx="3033038" cy="2033186"/>
            </a:xfrm>
            <a:custGeom>
              <a:avLst/>
              <a:gdLst/>
              <a:ahLst/>
              <a:cxnLst/>
              <a:rect l="l" t="t" r="r" b="b"/>
              <a:pathLst>
                <a:path w="3033038" h="2033186" extrusionOk="0">
                  <a:moveTo>
                    <a:pt x="2145958" y="2033187"/>
                  </a:moveTo>
                  <a:cubicBezTo>
                    <a:pt x="2068050" y="2033187"/>
                    <a:pt x="2008947" y="2010332"/>
                    <a:pt x="1971337" y="1965965"/>
                  </a:cubicBezTo>
                  <a:cubicBezTo>
                    <a:pt x="1918951" y="1904122"/>
                    <a:pt x="1924324" y="1820767"/>
                    <a:pt x="1929696" y="1741446"/>
                  </a:cubicBezTo>
                  <a:cubicBezTo>
                    <a:pt x="1935069" y="1666157"/>
                    <a:pt x="1940443" y="1594903"/>
                    <a:pt x="1898802" y="1545158"/>
                  </a:cubicBezTo>
                  <a:cubicBezTo>
                    <a:pt x="1884027" y="1527681"/>
                    <a:pt x="1863878" y="1514237"/>
                    <a:pt x="1834327" y="1499448"/>
                  </a:cubicBezTo>
                  <a:cubicBezTo>
                    <a:pt x="1640901" y="1403993"/>
                    <a:pt x="1400461" y="1460459"/>
                    <a:pt x="1237930" y="1511548"/>
                  </a:cubicBezTo>
                  <a:cubicBezTo>
                    <a:pt x="1205692" y="1520959"/>
                    <a:pt x="1174798" y="1531714"/>
                    <a:pt x="1142560" y="1542469"/>
                  </a:cubicBezTo>
                  <a:cubicBezTo>
                    <a:pt x="974655" y="1597591"/>
                    <a:pt x="800034" y="1655402"/>
                    <a:pt x="620041" y="1640613"/>
                  </a:cubicBezTo>
                  <a:cubicBezTo>
                    <a:pt x="296321" y="1613724"/>
                    <a:pt x="19614" y="1328705"/>
                    <a:pt x="809" y="1004697"/>
                  </a:cubicBezTo>
                  <a:cubicBezTo>
                    <a:pt x="-4564" y="898487"/>
                    <a:pt x="16927" y="804376"/>
                    <a:pt x="62597" y="733122"/>
                  </a:cubicBezTo>
                  <a:cubicBezTo>
                    <a:pt x="119014" y="645734"/>
                    <a:pt x="215727" y="594645"/>
                    <a:pt x="308410" y="602712"/>
                  </a:cubicBezTo>
                  <a:cubicBezTo>
                    <a:pt x="370199" y="608089"/>
                    <a:pt x="425271" y="637667"/>
                    <a:pt x="474971" y="664556"/>
                  </a:cubicBezTo>
                  <a:lnTo>
                    <a:pt x="687203" y="778832"/>
                  </a:lnTo>
                  <a:cubicBezTo>
                    <a:pt x="763767" y="819165"/>
                    <a:pt x="841675" y="854120"/>
                    <a:pt x="907493" y="823198"/>
                  </a:cubicBezTo>
                  <a:cubicBezTo>
                    <a:pt x="1002863" y="777488"/>
                    <a:pt x="990774" y="632289"/>
                    <a:pt x="953164" y="544901"/>
                  </a:cubicBezTo>
                  <a:cubicBezTo>
                    <a:pt x="942417" y="519357"/>
                    <a:pt x="928985" y="495157"/>
                    <a:pt x="916896" y="469613"/>
                  </a:cubicBezTo>
                  <a:cubicBezTo>
                    <a:pt x="876599" y="388947"/>
                    <a:pt x="834959" y="305592"/>
                    <a:pt x="845705" y="212826"/>
                  </a:cubicBezTo>
                  <a:cubicBezTo>
                    <a:pt x="856450" y="118716"/>
                    <a:pt x="927642" y="34017"/>
                    <a:pt x="1018982" y="8473"/>
                  </a:cubicBezTo>
                  <a:cubicBezTo>
                    <a:pt x="1110322" y="-17072"/>
                    <a:pt x="1215095" y="16539"/>
                    <a:pt x="1274197" y="90483"/>
                  </a:cubicBezTo>
                  <a:cubicBezTo>
                    <a:pt x="1338672" y="171149"/>
                    <a:pt x="1342702" y="281392"/>
                    <a:pt x="1341359" y="387602"/>
                  </a:cubicBezTo>
                  <a:cubicBezTo>
                    <a:pt x="1340016" y="480368"/>
                    <a:pt x="1338672" y="585234"/>
                    <a:pt x="1393745" y="661867"/>
                  </a:cubicBezTo>
                  <a:cubicBezTo>
                    <a:pt x="1421953" y="702199"/>
                    <a:pt x="1478369" y="729088"/>
                    <a:pt x="1529412" y="726399"/>
                  </a:cubicBezTo>
                  <a:cubicBezTo>
                    <a:pt x="1565679" y="725055"/>
                    <a:pt x="1593887" y="710266"/>
                    <a:pt x="1611350" y="683377"/>
                  </a:cubicBezTo>
                  <a:cubicBezTo>
                    <a:pt x="1644931" y="629600"/>
                    <a:pt x="1619409" y="557001"/>
                    <a:pt x="1596574" y="491124"/>
                  </a:cubicBezTo>
                  <a:lnTo>
                    <a:pt x="1595231" y="485746"/>
                  </a:lnTo>
                  <a:cubicBezTo>
                    <a:pt x="1573739" y="425247"/>
                    <a:pt x="1549561" y="315003"/>
                    <a:pt x="1623439" y="257193"/>
                  </a:cubicBezTo>
                  <a:cubicBezTo>
                    <a:pt x="1655676" y="231648"/>
                    <a:pt x="1695973" y="226271"/>
                    <a:pt x="1736270" y="241059"/>
                  </a:cubicBezTo>
                  <a:cubicBezTo>
                    <a:pt x="1799403" y="263915"/>
                    <a:pt x="1857162" y="331137"/>
                    <a:pt x="1873281" y="402391"/>
                  </a:cubicBezTo>
                  <a:cubicBezTo>
                    <a:pt x="1881340" y="440035"/>
                    <a:pt x="1885370" y="479024"/>
                    <a:pt x="1888056" y="516668"/>
                  </a:cubicBezTo>
                  <a:cubicBezTo>
                    <a:pt x="1893429" y="581201"/>
                    <a:pt x="1897459" y="643045"/>
                    <a:pt x="1929696" y="694133"/>
                  </a:cubicBezTo>
                  <a:cubicBezTo>
                    <a:pt x="1940443" y="710266"/>
                    <a:pt x="1951188" y="721022"/>
                    <a:pt x="1961934" y="725055"/>
                  </a:cubicBezTo>
                  <a:cubicBezTo>
                    <a:pt x="1986113" y="733122"/>
                    <a:pt x="2017007" y="715644"/>
                    <a:pt x="2051931" y="671278"/>
                  </a:cubicBezTo>
                  <a:cubicBezTo>
                    <a:pt x="2069393" y="649767"/>
                    <a:pt x="2088199" y="625567"/>
                    <a:pt x="2105661" y="602712"/>
                  </a:cubicBezTo>
                  <a:cubicBezTo>
                    <a:pt x="2264162" y="399702"/>
                    <a:pt x="2442813" y="169805"/>
                    <a:pt x="2736982" y="242404"/>
                  </a:cubicBezTo>
                  <a:cubicBezTo>
                    <a:pt x="2839068" y="267948"/>
                    <a:pt x="2931751" y="340547"/>
                    <a:pt x="2985481" y="438691"/>
                  </a:cubicBezTo>
                  <a:cubicBezTo>
                    <a:pt x="3035181" y="527423"/>
                    <a:pt x="3045926" y="624223"/>
                    <a:pt x="3017718" y="711611"/>
                  </a:cubicBezTo>
                  <a:cubicBezTo>
                    <a:pt x="2992197" y="789588"/>
                    <a:pt x="2938467" y="856809"/>
                    <a:pt x="2886081" y="921342"/>
                  </a:cubicBezTo>
                  <a:cubicBezTo>
                    <a:pt x="2817576" y="1007386"/>
                    <a:pt x="2753101" y="1086707"/>
                    <a:pt x="2755787" y="1187539"/>
                  </a:cubicBezTo>
                  <a:cubicBezTo>
                    <a:pt x="2758474" y="1248039"/>
                    <a:pt x="2786682" y="1305850"/>
                    <a:pt x="2814889" y="1362316"/>
                  </a:cubicBezTo>
                  <a:cubicBezTo>
                    <a:pt x="2849814" y="1434915"/>
                    <a:pt x="2887425" y="1510203"/>
                    <a:pt x="2873992" y="1592214"/>
                  </a:cubicBezTo>
                  <a:cubicBezTo>
                    <a:pt x="2860560" y="1671535"/>
                    <a:pt x="2801457" y="1732034"/>
                    <a:pt x="2758474" y="1772367"/>
                  </a:cubicBezTo>
                  <a:cubicBezTo>
                    <a:pt x="2609374" y="1910844"/>
                    <a:pt x="2415948" y="2002265"/>
                    <a:pt x="2214463" y="2029154"/>
                  </a:cubicBezTo>
                  <a:cubicBezTo>
                    <a:pt x="2191628" y="2030498"/>
                    <a:pt x="2168793" y="2033187"/>
                    <a:pt x="2145958" y="2033187"/>
                  </a:cubicBezTo>
                  <a:close/>
                  <a:moveTo>
                    <a:pt x="1596574" y="1406682"/>
                  </a:moveTo>
                  <a:cubicBezTo>
                    <a:pt x="1718809" y="1406682"/>
                    <a:pt x="1796716" y="1434915"/>
                    <a:pt x="1853132" y="1463148"/>
                  </a:cubicBezTo>
                  <a:cubicBezTo>
                    <a:pt x="1874624" y="1473904"/>
                    <a:pt x="1906862" y="1491381"/>
                    <a:pt x="1929696" y="1519614"/>
                  </a:cubicBezTo>
                  <a:cubicBezTo>
                    <a:pt x="1982083" y="1581458"/>
                    <a:pt x="1976710" y="1664813"/>
                    <a:pt x="1969994" y="1744134"/>
                  </a:cubicBezTo>
                  <a:cubicBezTo>
                    <a:pt x="1964621" y="1819422"/>
                    <a:pt x="1959248" y="1890678"/>
                    <a:pt x="2002231" y="1940421"/>
                  </a:cubicBezTo>
                  <a:cubicBezTo>
                    <a:pt x="2041185" y="1986132"/>
                    <a:pt x="2111033" y="2002265"/>
                    <a:pt x="2210433" y="1987476"/>
                  </a:cubicBezTo>
                  <a:cubicBezTo>
                    <a:pt x="2403859" y="1960588"/>
                    <a:pt x="2589226" y="1873200"/>
                    <a:pt x="2732952" y="1740101"/>
                  </a:cubicBezTo>
                  <a:cubicBezTo>
                    <a:pt x="2771906" y="1705146"/>
                    <a:pt x="2824292" y="1650024"/>
                    <a:pt x="2835038" y="1582802"/>
                  </a:cubicBezTo>
                  <a:cubicBezTo>
                    <a:pt x="2847127" y="1512892"/>
                    <a:pt x="2814889" y="1447015"/>
                    <a:pt x="2779966" y="1377104"/>
                  </a:cubicBezTo>
                  <a:cubicBezTo>
                    <a:pt x="2750414" y="1316605"/>
                    <a:pt x="2719520" y="1253417"/>
                    <a:pt x="2716833" y="1186195"/>
                  </a:cubicBezTo>
                  <a:cubicBezTo>
                    <a:pt x="2712804" y="1070574"/>
                    <a:pt x="2785338" y="980497"/>
                    <a:pt x="2855187" y="893109"/>
                  </a:cubicBezTo>
                  <a:cubicBezTo>
                    <a:pt x="2904886" y="831265"/>
                    <a:pt x="2955929" y="768077"/>
                    <a:pt x="2978764" y="696822"/>
                  </a:cubicBezTo>
                  <a:cubicBezTo>
                    <a:pt x="3004286" y="620189"/>
                    <a:pt x="2993540" y="535490"/>
                    <a:pt x="2949213" y="456169"/>
                  </a:cubicBezTo>
                  <a:cubicBezTo>
                    <a:pt x="2900857" y="367436"/>
                    <a:pt x="2816233" y="301559"/>
                    <a:pt x="2726236" y="280048"/>
                  </a:cubicBezTo>
                  <a:lnTo>
                    <a:pt x="2726236" y="280048"/>
                  </a:lnTo>
                  <a:cubicBezTo>
                    <a:pt x="2457589" y="212826"/>
                    <a:pt x="2286998" y="431969"/>
                    <a:pt x="2136555" y="625567"/>
                  </a:cubicBezTo>
                  <a:cubicBezTo>
                    <a:pt x="2117750" y="649767"/>
                    <a:pt x="2100288" y="672622"/>
                    <a:pt x="2082825" y="694133"/>
                  </a:cubicBezTo>
                  <a:cubicBezTo>
                    <a:pt x="2065363" y="715644"/>
                    <a:pt x="2011634" y="782865"/>
                    <a:pt x="1947159" y="760010"/>
                  </a:cubicBezTo>
                  <a:cubicBezTo>
                    <a:pt x="1927010" y="753288"/>
                    <a:pt x="1909548" y="737155"/>
                    <a:pt x="1893429" y="711611"/>
                  </a:cubicBezTo>
                  <a:cubicBezTo>
                    <a:pt x="1857162" y="652456"/>
                    <a:pt x="1851789" y="582545"/>
                    <a:pt x="1846416" y="516668"/>
                  </a:cubicBezTo>
                  <a:cubicBezTo>
                    <a:pt x="1843729" y="480368"/>
                    <a:pt x="1841043" y="442724"/>
                    <a:pt x="1832984" y="409113"/>
                  </a:cubicBezTo>
                  <a:cubicBezTo>
                    <a:pt x="1819551" y="351303"/>
                    <a:pt x="1771195" y="294837"/>
                    <a:pt x="1721495" y="276015"/>
                  </a:cubicBezTo>
                  <a:cubicBezTo>
                    <a:pt x="1693287" y="266604"/>
                    <a:pt x="1667765" y="269293"/>
                    <a:pt x="1646273" y="285426"/>
                  </a:cubicBezTo>
                  <a:cubicBezTo>
                    <a:pt x="1592544" y="327103"/>
                    <a:pt x="1614036" y="418525"/>
                    <a:pt x="1631498" y="469613"/>
                  </a:cubicBezTo>
                  <a:lnTo>
                    <a:pt x="1632841" y="474991"/>
                  </a:lnTo>
                  <a:cubicBezTo>
                    <a:pt x="1657020" y="544901"/>
                    <a:pt x="1686571" y="632289"/>
                    <a:pt x="1643587" y="700855"/>
                  </a:cubicBezTo>
                  <a:cubicBezTo>
                    <a:pt x="1619409" y="738499"/>
                    <a:pt x="1579112" y="761355"/>
                    <a:pt x="1529412" y="762699"/>
                  </a:cubicBezTo>
                  <a:cubicBezTo>
                    <a:pt x="1464937" y="765388"/>
                    <a:pt x="1396432" y="731777"/>
                    <a:pt x="1360164" y="680689"/>
                  </a:cubicBezTo>
                  <a:cubicBezTo>
                    <a:pt x="1297032" y="593301"/>
                    <a:pt x="1298375" y="476335"/>
                    <a:pt x="1299719" y="382225"/>
                  </a:cubicBezTo>
                  <a:cubicBezTo>
                    <a:pt x="1301062" y="284081"/>
                    <a:pt x="1297032" y="181905"/>
                    <a:pt x="1240616" y="110649"/>
                  </a:cubicBezTo>
                  <a:cubicBezTo>
                    <a:pt x="1190916" y="48806"/>
                    <a:pt x="1103606" y="20573"/>
                    <a:pt x="1028385" y="42084"/>
                  </a:cubicBezTo>
                  <a:cubicBezTo>
                    <a:pt x="951820" y="63594"/>
                    <a:pt x="892718" y="133505"/>
                    <a:pt x="884658" y="212826"/>
                  </a:cubicBezTo>
                  <a:cubicBezTo>
                    <a:pt x="875256" y="293492"/>
                    <a:pt x="912867" y="367436"/>
                    <a:pt x="951820" y="446757"/>
                  </a:cubicBezTo>
                  <a:cubicBezTo>
                    <a:pt x="963909" y="472302"/>
                    <a:pt x="977342" y="497846"/>
                    <a:pt x="988087" y="523390"/>
                  </a:cubicBezTo>
                  <a:cubicBezTo>
                    <a:pt x="1057936" y="684722"/>
                    <a:pt x="1006893" y="815132"/>
                    <a:pt x="923612" y="854120"/>
                  </a:cubicBezTo>
                  <a:cubicBezTo>
                    <a:pt x="843018" y="893109"/>
                    <a:pt x="753021" y="855465"/>
                    <a:pt x="667054" y="809754"/>
                  </a:cubicBezTo>
                  <a:lnTo>
                    <a:pt x="454823" y="695477"/>
                  </a:lnTo>
                  <a:cubicBezTo>
                    <a:pt x="409153" y="671278"/>
                    <a:pt x="358110" y="643045"/>
                    <a:pt x="304380" y="639011"/>
                  </a:cubicBezTo>
                  <a:cubicBezTo>
                    <a:pt x="226472" y="632289"/>
                    <a:pt x="144535" y="676655"/>
                    <a:pt x="96178" y="751944"/>
                  </a:cubicBezTo>
                  <a:cubicBezTo>
                    <a:pt x="43792" y="832610"/>
                    <a:pt x="37076" y="930753"/>
                    <a:pt x="39762" y="999319"/>
                  </a:cubicBezTo>
                  <a:cubicBezTo>
                    <a:pt x="57225" y="1304505"/>
                    <a:pt x="317812" y="1572047"/>
                    <a:pt x="621384" y="1597591"/>
                  </a:cubicBezTo>
                  <a:cubicBezTo>
                    <a:pt x="791975" y="1612380"/>
                    <a:pt x="962566" y="1555914"/>
                    <a:pt x="1127784" y="1502136"/>
                  </a:cubicBezTo>
                  <a:cubicBezTo>
                    <a:pt x="1160022" y="1491381"/>
                    <a:pt x="1192260" y="1480626"/>
                    <a:pt x="1224497" y="1471215"/>
                  </a:cubicBezTo>
                  <a:cubicBezTo>
                    <a:pt x="1381656" y="1424160"/>
                    <a:pt x="1502547" y="1406682"/>
                    <a:pt x="1596574" y="1406682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388" name="Google Shape;388;p20"/>
            <p:cNvSpPr/>
            <p:nvPr/>
          </p:nvSpPr>
          <p:spPr>
            <a:xfrm>
              <a:off x="63636" y="-1347131"/>
              <a:ext cx="2066222" cy="2161334"/>
            </a:xfrm>
            <a:custGeom>
              <a:avLst/>
              <a:gdLst/>
              <a:ahLst/>
              <a:cxnLst/>
              <a:rect l="l" t="t" r="r" b="b"/>
              <a:pathLst>
                <a:path w="2066222" h="2161334" extrusionOk="0">
                  <a:moveTo>
                    <a:pt x="337808" y="2161335"/>
                  </a:moveTo>
                  <a:cubicBezTo>
                    <a:pt x="321689" y="2161335"/>
                    <a:pt x="306913" y="2159990"/>
                    <a:pt x="290794" y="2155957"/>
                  </a:cubicBezTo>
                  <a:cubicBezTo>
                    <a:pt x="216916" y="2139824"/>
                    <a:pt x="149755" y="2086046"/>
                    <a:pt x="86623" y="1989247"/>
                  </a:cubicBezTo>
                  <a:cubicBezTo>
                    <a:pt x="7371" y="1868248"/>
                    <a:pt x="-18150" y="1753972"/>
                    <a:pt x="12745" y="1661206"/>
                  </a:cubicBezTo>
                  <a:cubicBezTo>
                    <a:pt x="67817" y="1495841"/>
                    <a:pt x="269303" y="1448786"/>
                    <a:pt x="383478" y="1435341"/>
                  </a:cubicBezTo>
                  <a:cubicBezTo>
                    <a:pt x="407656" y="1432653"/>
                    <a:pt x="433177" y="1429964"/>
                    <a:pt x="458699" y="1427275"/>
                  </a:cubicBezTo>
                  <a:cubicBezTo>
                    <a:pt x="576904" y="1415175"/>
                    <a:pt x="700482" y="1403075"/>
                    <a:pt x="790479" y="1333165"/>
                  </a:cubicBezTo>
                  <a:cubicBezTo>
                    <a:pt x="817343" y="1312998"/>
                    <a:pt x="836148" y="1290143"/>
                    <a:pt x="845551" y="1267287"/>
                  </a:cubicBezTo>
                  <a:cubicBezTo>
                    <a:pt x="872416" y="1202755"/>
                    <a:pt x="837492" y="1127467"/>
                    <a:pt x="803911" y="1053523"/>
                  </a:cubicBezTo>
                  <a:cubicBezTo>
                    <a:pt x="763614" y="964790"/>
                    <a:pt x="721973" y="873369"/>
                    <a:pt x="782419" y="796736"/>
                  </a:cubicBezTo>
                  <a:cubicBezTo>
                    <a:pt x="842865" y="720104"/>
                    <a:pt x="957040" y="733548"/>
                    <a:pt x="1044350" y="771192"/>
                  </a:cubicBezTo>
                  <a:cubicBezTo>
                    <a:pt x="1059126" y="777914"/>
                    <a:pt x="1073902" y="784636"/>
                    <a:pt x="1088677" y="791359"/>
                  </a:cubicBezTo>
                  <a:cubicBezTo>
                    <a:pt x="1153152" y="820936"/>
                    <a:pt x="1213598" y="850514"/>
                    <a:pt x="1275387" y="839758"/>
                  </a:cubicBezTo>
                  <a:cubicBezTo>
                    <a:pt x="1318371" y="833036"/>
                    <a:pt x="1353295" y="787325"/>
                    <a:pt x="1360011" y="749681"/>
                  </a:cubicBezTo>
                  <a:cubicBezTo>
                    <a:pt x="1364041" y="730859"/>
                    <a:pt x="1362697" y="705315"/>
                    <a:pt x="1337176" y="691871"/>
                  </a:cubicBezTo>
                  <a:cubicBezTo>
                    <a:pt x="1322400" y="683804"/>
                    <a:pt x="1304938" y="681115"/>
                    <a:pt x="1284790" y="678426"/>
                  </a:cubicBezTo>
                  <a:lnTo>
                    <a:pt x="1280760" y="678426"/>
                  </a:lnTo>
                  <a:cubicBezTo>
                    <a:pt x="1181360" y="666326"/>
                    <a:pt x="1111512" y="639438"/>
                    <a:pt x="1059126" y="595072"/>
                  </a:cubicBezTo>
                  <a:cubicBezTo>
                    <a:pt x="998680" y="543983"/>
                    <a:pt x="958383" y="448528"/>
                    <a:pt x="995994" y="366518"/>
                  </a:cubicBezTo>
                  <a:cubicBezTo>
                    <a:pt x="1040321" y="269719"/>
                    <a:pt x="1236433" y="77465"/>
                    <a:pt x="1334489" y="34443"/>
                  </a:cubicBezTo>
                  <a:cubicBezTo>
                    <a:pt x="1486275" y="-30089"/>
                    <a:pt x="1706566" y="-1856"/>
                    <a:pt x="1848949" y="101665"/>
                  </a:cubicBezTo>
                  <a:lnTo>
                    <a:pt x="1848949" y="101665"/>
                  </a:lnTo>
                  <a:cubicBezTo>
                    <a:pt x="2034316" y="236108"/>
                    <a:pt x="2094761" y="502306"/>
                    <a:pt x="1981930" y="682460"/>
                  </a:cubicBezTo>
                  <a:cubicBezTo>
                    <a:pt x="1973870" y="694560"/>
                    <a:pt x="1965811" y="706659"/>
                    <a:pt x="1957751" y="717415"/>
                  </a:cubicBezTo>
                  <a:cubicBezTo>
                    <a:pt x="1941633" y="740270"/>
                    <a:pt x="1926857" y="761781"/>
                    <a:pt x="1916111" y="785981"/>
                  </a:cubicBezTo>
                  <a:cubicBezTo>
                    <a:pt x="1879844" y="876058"/>
                    <a:pt x="1929543" y="968824"/>
                    <a:pt x="1981930" y="1066967"/>
                  </a:cubicBezTo>
                  <a:cubicBezTo>
                    <a:pt x="2034316" y="1165111"/>
                    <a:pt x="2088045" y="1267287"/>
                    <a:pt x="2057151" y="1372153"/>
                  </a:cubicBezTo>
                  <a:cubicBezTo>
                    <a:pt x="2030286" y="1464919"/>
                    <a:pt x="1944319" y="1525418"/>
                    <a:pt x="1858352" y="1577851"/>
                  </a:cubicBezTo>
                  <a:cubicBezTo>
                    <a:pt x="1710596" y="1669272"/>
                    <a:pt x="1538662" y="1752627"/>
                    <a:pt x="1388219" y="1678684"/>
                  </a:cubicBezTo>
                  <a:cubicBezTo>
                    <a:pt x="1358668" y="1663895"/>
                    <a:pt x="1329117" y="1643728"/>
                    <a:pt x="1302252" y="1623562"/>
                  </a:cubicBezTo>
                  <a:cubicBezTo>
                    <a:pt x="1247179" y="1583229"/>
                    <a:pt x="1194793" y="1544241"/>
                    <a:pt x="1138377" y="1561718"/>
                  </a:cubicBezTo>
                  <a:cubicBezTo>
                    <a:pt x="1095393" y="1573818"/>
                    <a:pt x="1067185" y="1616840"/>
                    <a:pt x="1038977" y="1657173"/>
                  </a:cubicBezTo>
                  <a:lnTo>
                    <a:pt x="1034948" y="1662550"/>
                  </a:lnTo>
                  <a:cubicBezTo>
                    <a:pt x="903310" y="1852115"/>
                    <a:pt x="724660" y="2005380"/>
                    <a:pt x="516458" y="2106213"/>
                  </a:cubicBezTo>
                  <a:cubicBezTo>
                    <a:pt x="466758" y="2135791"/>
                    <a:pt x="402283" y="2161335"/>
                    <a:pt x="337808" y="2161335"/>
                  </a:cubicBezTo>
                  <a:close/>
                  <a:moveTo>
                    <a:pt x="911370" y="783292"/>
                  </a:moveTo>
                  <a:cubicBezTo>
                    <a:pt x="872416" y="783292"/>
                    <a:pt x="836148" y="794047"/>
                    <a:pt x="813313" y="823625"/>
                  </a:cubicBezTo>
                  <a:cubicBezTo>
                    <a:pt x="767644" y="881436"/>
                    <a:pt x="801224" y="954035"/>
                    <a:pt x="838835" y="1038734"/>
                  </a:cubicBezTo>
                  <a:cubicBezTo>
                    <a:pt x="876446" y="1119400"/>
                    <a:pt x="914056" y="1204099"/>
                    <a:pt x="880475" y="1284765"/>
                  </a:cubicBezTo>
                  <a:cubicBezTo>
                    <a:pt x="868386" y="1314343"/>
                    <a:pt x="845551" y="1341231"/>
                    <a:pt x="813313" y="1366775"/>
                  </a:cubicBezTo>
                  <a:cubicBezTo>
                    <a:pt x="712571" y="1443408"/>
                    <a:pt x="584963" y="1456852"/>
                    <a:pt x="460042" y="1468952"/>
                  </a:cubicBezTo>
                  <a:cubicBezTo>
                    <a:pt x="435864" y="1471641"/>
                    <a:pt x="410342" y="1474330"/>
                    <a:pt x="386164" y="1477019"/>
                  </a:cubicBezTo>
                  <a:cubicBezTo>
                    <a:pt x="281392" y="1489119"/>
                    <a:pt x="97368" y="1532140"/>
                    <a:pt x="49012" y="1675995"/>
                  </a:cubicBezTo>
                  <a:cubicBezTo>
                    <a:pt x="14088" y="1778172"/>
                    <a:pt x="67817" y="1892448"/>
                    <a:pt x="117517" y="1969081"/>
                  </a:cubicBezTo>
                  <a:cubicBezTo>
                    <a:pt x="173933" y="2056469"/>
                    <a:pt x="233035" y="2104869"/>
                    <a:pt x="296167" y="2118313"/>
                  </a:cubicBezTo>
                  <a:cubicBezTo>
                    <a:pt x="366016" y="2133102"/>
                    <a:pt x="439894" y="2103524"/>
                    <a:pt x="497653" y="2076635"/>
                  </a:cubicBezTo>
                  <a:cubicBezTo>
                    <a:pt x="699138" y="1979836"/>
                    <a:pt x="873759" y="1830604"/>
                    <a:pt x="1000024" y="1646417"/>
                  </a:cubicBezTo>
                  <a:lnTo>
                    <a:pt x="1004053" y="1641040"/>
                  </a:lnTo>
                  <a:cubicBezTo>
                    <a:pt x="1034948" y="1596673"/>
                    <a:pt x="1069872" y="1546929"/>
                    <a:pt x="1124944" y="1529452"/>
                  </a:cubicBezTo>
                  <a:cubicBezTo>
                    <a:pt x="1200166" y="1506596"/>
                    <a:pt x="1263298" y="1553651"/>
                    <a:pt x="1323743" y="1598018"/>
                  </a:cubicBezTo>
                  <a:cubicBezTo>
                    <a:pt x="1349265" y="1616840"/>
                    <a:pt x="1377473" y="1637006"/>
                    <a:pt x="1404338" y="1650451"/>
                  </a:cubicBezTo>
                  <a:cubicBezTo>
                    <a:pt x="1535975" y="1714983"/>
                    <a:pt x="1695820" y="1637006"/>
                    <a:pt x="1835516" y="1550963"/>
                  </a:cubicBezTo>
                  <a:cubicBezTo>
                    <a:pt x="1917454" y="1499874"/>
                    <a:pt x="1992675" y="1447441"/>
                    <a:pt x="2016853" y="1368120"/>
                  </a:cubicBezTo>
                  <a:cubicBezTo>
                    <a:pt x="2043718" y="1278043"/>
                    <a:pt x="1995362" y="1187966"/>
                    <a:pt x="1944319" y="1092511"/>
                  </a:cubicBezTo>
                  <a:cubicBezTo>
                    <a:pt x="1889246" y="990335"/>
                    <a:pt x="1832830" y="884124"/>
                    <a:pt x="1875814" y="776570"/>
                  </a:cubicBezTo>
                  <a:cubicBezTo>
                    <a:pt x="1886560" y="748337"/>
                    <a:pt x="1904022" y="722793"/>
                    <a:pt x="1921484" y="698593"/>
                  </a:cubicBezTo>
                  <a:cubicBezTo>
                    <a:pt x="1929543" y="686493"/>
                    <a:pt x="1937603" y="675737"/>
                    <a:pt x="1944319" y="664982"/>
                  </a:cubicBezTo>
                  <a:cubicBezTo>
                    <a:pt x="2045061" y="504995"/>
                    <a:pt x="1987302" y="257619"/>
                    <a:pt x="1822084" y="137965"/>
                  </a:cubicBezTo>
                  <a:lnTo>
                    <a:pt x="1822084" y="137965"/>
                  </a:lnTo>
                  <a:cubicBezTo>
                    <a:pt x="1690447" y="42510"/>
                    <a:pt x="1486275" y="15621"/>
                    <a:pt x="1346578" y="74776"/>
                  </a:cubicBezTo>
                  <a:cubicBezTo>
                    <a:pt x="1256582" y="113765"/>
                    <a:pt x="1069872" y="296608"/>
                    <a:pt x="1028231" y="386685"/>
                  </a:cubicBezTo>
                  <a:cubicBezTo>
                    <a:pt x="998680" y="451217"/>
                    <a:pt x="1032261" y="526506"/>
                    <a:pt x="1080618" y="568183"/>
                  </a:cubicBezTo>
                  <a:cubicBezTo>
                    <a:pt x="1126288" y="607171"/>
                    <a:pt x="1190763" y="631371"/>
                    <a:pt x="1280760" y="642127"/>
                  </a:cubicBezTo>
                  <a:lnTo>
                    <a:pt x="1284790" y="642127"/>
                  </a:lnTo>
                  <a:cubicBezTo>
                    <a:pt x="1306281" y="644815"/>
                    <a:pt x="1330460" y="647504"/>
                    <a:pt x="1353295" y="659604"/>
                  </a:cubicBezTo>
                  <a:cubicBezTo>
                    <a:pt x="1386876" y="679771"/>
                    <a:pt x="1402995" y="717415"/>
                    <a:pt x="1394935" y="760437"/>
                  </a:cubicBezTo>
                  <a:cubicBezTo>
                    <a:pt x="1385532" y="811525"/>
                    <a:pt x="1341206" y="872024"/>
                    <a:pt x="1276730" y="882780"/>
                  </a:cubicBezTo>
                  <a:cubicBezTo>
                    <a:pt x="1201509" y="894880"/>
                    <a:pt x="1133004" y="862613"/>
                    <a:pt x="1065842" y="831692"/>
                  </a:cubicBezTo>
                  <a:cubicBezTo>
                    <a:pt x="1051066" y="824969"/>
                    <a:pt x="1036291" y="818247"/>
                    <a:pt x="1021515" y="811525"/>
                  </a:cubicBezTo>
                  <a:cubicBezTo>
                    <a:pt x="993307" y="795392"/>
                    <a:pt x="950324" y="783292"/>
                    <a:pt x="911370" y="783292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sp>
        <p:nvSpPr>
          <p:cNvPr id="389" name="Google Shape;389;p20"/>
          <p:cNvSpPr txBox="1"/>
          <p:nvPr/>
        </p:nvSpPr>
        <p:spPr>
          <a:xfrm>
            <a:off x="3695200" y="4524337"/>
            <a:ext cx="4801600" cy="1008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/>
          <a:p>
            <a:pPr marL="0" lvl="0" indent="0" algn="ctr" rtl="0">
              <a:lnSpc>
                <a:spcPct val="115000"/>
              </a:lnSpc>
              <a:spcBef>
                <a:spcPts val="400"/>
              </a:spcBef>
              <a:spcAft>
                <a:spcPts val="0"/>
              </a:spcAft>
              <a:buNone/>
            </a:pPr>
            <a:r>
              <a:rPr lang="en" sz="1600" b="1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CREDITS: </a:t>
            </a:r>
            <a:r>
              <a:rPr lang="en" sz="16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This presentation template was created by </a:t>
            </a:r>
            <a:r>
              <a:rPr lang="en" sz="1600" b="1" u="sng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lidesgo</a:t>
            </a:r>
            <a:r>
              <a:rPr lang="en" sz="16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, and includes icons by </a:t>
            </a:r>
            <a:r>
              <a:rPr lang="en" sz="1600" b="1" u="sng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laticon</a:t>
            </a:r>
            <a:r>
              <a:rPr lang="en" sz="16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, and infographics &amp; images by </a:t>
            </a:r>
            <a:r>
              <a:rPr lang="en" sz="1600" b="1" u="sng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Freepik</a:t>
            </a:r>
            <a:r>
              <a:rPr lang="en" sz="1600"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rPr>
              <a:t> </a:t>
            </a:r>
            <a:endParaRPr sz="1600">
              <a:solidFill>
                <a:schemeClr val="dk1"/>
              </a:solidFill>
              <a:latin typeface="DM Sans"/>
              <a:ea typeface="DM Sans"/>
              <a:cs typeface="DM Sans"/>
              <a:sym typeface="DM Sans"/>
            </a:endParaRPr>
          </a:p>
        </p:txBody>
      </p:sp>
      <p:sp>
        <p:nvSpPr>
          <p:cNvPr id="390" name="Google Shape;390;p20"/>
          <p:cNvSpPr txBox="1">
            <a:spLocks noGrp="1"/>
          </p:cNvSpPr>
          <p:nvPr>
            <p:ph type="title"/>
          </p:nvPr>
        </p:nvSpPr>
        <p:spPr>
          <a:xfrm>
            <a:off x="3695200" y="735692"/>
            <a:ext cx="4801600" cy="121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500"/>
              <a:buNone/>
              <a:defRPr sz="8000"/>
            </a:lvl1pPr>
            <a:lvl2pPr lvl="1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3500"/>
              <a:buNone/>
              <a:defRPr/>
            </a:lvl9pPr>
          </a:lstStyle>
          <a:p>
            <a:endParaRPr/>
          </a:p>
        </p:txBody>
      </p:sp>
      <p:sp>
        <p:nvSpPr>
          <p:cNvPr id="391" name="Google Shape;391;p20"/>
          <p:cNvSpPr txBox="1">
            <a:spLocks noGrp="1"/>
          </p:cNvSpPr>
          <p:nvPr>
            <p:ph type="subTitle" idx="1"/>
          </p:nvPr>
        </p:nvSpPr>
        <p:spPr>
          <a:xfrm>
            <a:off x="3695200" y="1963423"/>
            <a:ext cx="4801600" cy="148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CUSTOM_9_1">
    <p:spTree>
      <p:nvGrpSpPr>
        <p:cNvPr id="1" name="Shape 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93" name="Google Shape;393;p21"/>
          <p:cNvGrpSpPr/>
          <p:nvPr/>
        </p:nvGrpSpPr>
        <p:grpSpPr>
          <a:xfrm>
            <a:off x="-1073848" y="-578380"/>
            <a:ext cx="14086152" cy="8152307"/>
            <a:chOff x="-805386" y="-433785"/>
            <a:chExt cx="10564614" cy="6114230"/>
          </a:xfrm>
        </p:grpSpPr>
        <p:sp>
          <p:nvSpPr>
            <p:cNvPr id="394" name="Google Shape;394;p21"/>
            <p:cNvSpPr/>
            <p:nvPr/>
          </p:nvSpPr>
          <p:spPr>
            <a:xfrm>
              <a:off x="7795495" y="4209879"/>
              <a:ext cx="1963732" cy="1470566"/>
            </a:xfrm>
            <a:custGeom>
              <a:avLst/>
              <a:gdLst/>
              <a:ahLst/>
              <a:cxnLst/>
              <a:rect l="l" t="t" r="r" b="b"/>
              <a:pathLst>
                <a:path w="1402666" h="1050404" extrusionOk="0">
                  <a:moveTo>
                    <a:pt x="1390590" y="220010"/>
                  </a:moveTo>
                  <a:cubicBezTo>
                    <a:pt x="1341656" y="104986"/>
                    <a:pt x="1138665" y="63231"/>
                    <a:pt x="1049244" y="106992"/>
                  </a:cubicBezTo>
                  <a:lnTo>
                    <a:pt x="948311" y="82163"/>
                  </a:lnTo>
                  <a:cubicBezTo>
                    <a:pt x="819042" y="57271"/>
                    <a:pt x="735331" y="-84425"/>
                    <a:pt x="612165" y="73745"/>
                  </a:cubicBezTo>
                  <a:cubicBezTo>
                    <a:pt x="501913" y="215331"/>
                    <a:pt x="563541" y="450502"/>
                    <a:pt x="340053" y="432787"/>
                  </a:cubicBezTo>
                  <a:cubicBezTo>
                    <a:pt x="231164" y="424156"/>
                    <a:pt x="76410" y="304605"/>
                    <a:pt x="14694" y="484224"/>
                  </a:cubicBezTo>
                  <a:cubicBezTo>
                    <a:pt x="-24343" y="597837"/>
                    <a:pt x="21045" y="763789"/>
                    <a:pt x="73456" y="860376"/>
                  </a:cubicBezTo>
                  <a:cubicBezTo>
                    <a:pt x="150548" y="1002447"/>
                    <a:pt x="297363" y="1060394"/>
                    <a:pt x="431515" y="1049011"/>
                  </a:cubicBezTo>
                  <a:cubicBezTo>
                    <a:pt x="474640" y="1045350"/>
                    <a:pt x="576457" y="1035521"/>
                    <a:pt x="590571" y="970081"/>
                  </a:cubicBezTo>
                  <a:cubicBezTo>
                    <a:pt x="702824" y="957413"/>
                    <a:pt x="824497" y="986922"/>
                    <a:pt x="923115" y="908208"/>
                  </a:cubicBezTo>
                  <a:cubicBezTo>
                    <a:pt x="995072" y="850773"/>
                    <a:pt x="1060157" y="789017"/>
                    <a:pt x="1135455" y="736605"/>
                  </a:cubicBezTo>
                  <a:cubicBezTo>
                    <a:pt x="1190061" y="698594"/>
                    <a:pt x="1227392" y="675059"/>
                    <a:pt x="1259846" y="615198"/>
                  </a:cubicBezTo>
                  <a:cubicBezTo>
                    <a:pt x="1311976" y="519049"/>
                    <a:pt x="1442813" y="342768"/>
                    <a:pt x="1390590" y="22001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grpSp>
          <p:nvGrpSpPr>
            <p:cNvPr id="395" name="Google Shape;395;p21"/>
            <p:cNvGrpSpPr/>
            <p:nvPr/>
          </p:nvGrpSpPr>
          <p:grpSpPr>
            <a:xfrm>
              <a:off x="8153906" y="-433785"/>
              <a:ext cx="1579710" cy="1529704"/>
              <a:chOff x="6273623" y="1651506"/>
              <a:chExt cx="1210413" cy="1172097"/>
            </a:xfrm>
          </p:grpSpPr>
          <p:sp>
            <p:nvSpPr>
              <p:cNvPr id="396" name="Google Shape;396;p21"/>
              <p:cNvSpPr/>
              <p:nvPr/>
            </p:nvSpPr>
            <p:spPr>
              <a:xfrm>
                <a:off x="6387545" y="1784866"/>
                <a:ext cx="608609" cy="416340"/>
              </a:xfrm>
              <a:custGeom>
                <a:avLst/>
                <a:gdLst/>
                <a:ahLst/>
                <a:cxnLst/>
                <a:rect l="l" t="t" r="r" b="b"/>
                <a:pathLst>
                  <a:path w="608609" h="416340" extrusionOk="0">
                    <a:moveTo>
                      <a:pt x="480399" y="192190"/>
                    </a:moveTo>
                    <a:cubicBezTo>
                      <a:pt x="419908" y="152370"/>
                      <a:pt x="359912" y="107730"/>
                      <a:pt x="295403" y="75050"/>
                    </a:cubicBezTo>
                    <a:cubicBezTo>
                      <a:pt x="259584" y="56905"/>
                      <a:pt x="224520" y="30849"/>
                      <a:pt x="185928" y="19712"/>
                    </a:cubicBezTo>
                    <a:cubicBezTo>
                      <a:pt x="158485" y="10582"/>
                      <a:pt x="130200" y="4216"/>
                      <a:pt x="101493" y="709"/>
                    </a:cubicBezTo>
                    <a:cubicBezTo>
                      <a:pt x="68291" y="-1842"/>
                      <a:pt x="15787" y="944"/>
                      <a:pt x="3557" y="35403"/>
                    </a:cubicBezTo>
                    <a:cubicBezTo>
                      <a:pt x="-5327" y="60436"/>
                      <a:pt x="4714" y="96324"/>
                      <a:pt x="9166" y="122979"/>
                    </a:cubicBezTo>
                    <a:cubicBezTo>
                      <a:pt x="10340" y="136233"/>
                      <a:pt x="14721" y="149003"/>
                      <a:pt x="21932" y="160184"/>
                    </a:cubicBezTo>
                    <a:cubicBezTo>
                      <a:pt x="39678" y="186911"/>
                      <a:pt x="59830" y="211959"/>
                      <a:pt x="82135" y="235015"/>
                    </a:cubicBezTo>
                    <a:cubicBezTo>
                      <a:pt x="89828" y="243385"/>
                      <a:pt x="98485" y="250814"/>
                      <a:pt x="107924" y="257147"/>
                    </a:cubicBezTo>
                    <a:cubicBezTo>
                      <a:pt x="124223" y="266092"/>
                      <a:pt x="141308" y="273522"/>
                      <a:pt x="158965" y="279343"/>
                    </a:cubicBezTo>
                    <a:cubicBezTo>
                      <a:pt x="174102" y="284611"/>
                      <a:pt x="188676" y="290825"/>
                      <a:pt x="203694" y="296523"/>
                    </a:cubicBezTo>
                    <a:cubicBezTo>
                      <a:pt x="239435" y="310084"/>
                      <a:pt x="275071" y="319612"/>
                      <a:pt x="311310" y="330662"/>
                    </a:cubicBezTo>
                    <a:cubicBezTo>
                      <a:pt x="358976" y="345198"/>
                      <a:pt x="404708" y="366334"/>
                      <a:pt x="452077" y="382022"/>
                    </a:cubicBezTo>
                    <a:cubicBezTo>
                      <a:pt x="482261" y="392020"/>
                      <a:pt x="511435" y="405067"/>
                      <a:pt x="541219" y="416341"/>
                    </a:cubicBezTo>
                    <a:lnTo>
                      <a:pt x="608614" y="276496"/>
                    </a:lnTo>
                    <a:cubicBezTo>
                      <a:pt x="565789" y="248528"/>
                      <a:pt x="523051" y="220426"/>
                      <a:pt x="480399" y="192190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7" name="Google Shape;397;p21"/>
              <p:cNvSpPr/>
              <p:nvPr/>
            </p:nvSpPr>
            <p:spPr>
              <a:xfrm>
                <a:off x="6273623" y="2098417"/>
                <a:ext cx="572310" cy="357053"/>
              </a:xfrm>
              <a:custGeom>
                <a:avLst/>
                <a:gdLst/>
                <a:ahLst/>
                <a:cxnLst/>
                <a:rect l="l" t="t" r="r" b="b"/>
                <a:pathLst>
                  <a:path w="572310" h="357053" extrusionOk="0">
                    <a:moveTo>
                      <a:pt x="425798" y="175079"/>
                    </a:moveTo>
                    <a:cubicBezTo>
                      <a:pt x="399094" y="158337"/>
                      <a:pt x="370940" y="144324"/>
                      <a:pt x="344734" y="126715"/>
                    </a:cubicBezTo>
                    <a:cubicBezTo>
                      <a:pt x="291392" y="91488"/>
                      <a:pt x="235814" y="59773"/>
                      <a:pt x="178352" y="31773"/>
                    </a:cubicBezTo>
                    <a:cubicBezTo>
                      <a:pt x="157363" y="23060"/>
                      <a:pt x="135615" y="16304"/>
                      <a:pt x="113385" y="11590"/>
                    </a:cubicBezTo>
                    <a:cubicBezTo>
                      <a:pt x="100076" y="6607"/>
                      <a:pt x="86302" y="2971"/>
                      <a:pt x="72269" y="736"/>
                    </a:cubicBezTo>
                    <a:cubicBezTo>
                      <a:pt x="43571" y="-1795"/>
                      <a:pt x="12578" y="981"/>
                      <a:pt x="2477" y="28772"/>
                    </a:cubicBezTo>
                    <a:cubicBezTo>
                      <a:pt x="-5264" y="50070"/>
                      <a:pt x="6609" y="79033"/>
                      <a:pt x="18268" y="98709"/>
                    </a:cubicBezTo>
                    <a:cubicBezTo>
                      <a:pt x="35944" y="127406"/>
                      <a:pt x="56942" y="153919"/>
                      <a:pt x="80826" y="177697"/>
                    </a:cubicBezTo>
                    <a:cubicBezTo>
                      <a:pt x="110239" y="207502"/>
                      <a:pt x="155501" y="232116"/>
                      <a:pt x="193697" y="248881"/>
                    </a:cubicBezTo>
                    <a:cubicBezTo>
                      <a:pt x="264629" y="280450"/>
                      <a:pt x="338406" y="305188"/>
                      <a:pt x="414027" y="322757"/>
                    </a:cubicBezTo>
                    <a:cubicBezTo>
                      <a:pt x="447241" y="330287"/>
                      <a:pt x="480779" y="341369"/>
                      <a:pt x="513676" y="351089"/>
                    </a:cubicBezTo>
                    <a:cubicBezTo>
                      <a:pt x="520190" y="353013"/>
                      <a:pt x="526414" y="355014"/>
                      <a:pt x="532601" y="357053"/>
                    </a:cubicBezTo>
                    <a:lnTo>
                      <a:pt x="572315" y="274647"/>
                    </a:lnTo>
                    <a:cubicBezTo>
                      <a:pt x="542730" y="253682"/>
                      <a:pt x="513133" y="232816"/>
                      <a:pt x="483037" y="212997"/>
                    </a:cubicBezTo>
                    <a:cubicBezTo>
                      <a:pt x="463957" y="200433"/>
                      <a:pt x="445150" y="187212"/>
                      <a:pt x="425798" y="17507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8" name="Google Shape;398;p21"/>
              <p:cNvSpPr/>
              <p:nvPr/>
            </p:nvSpPr>
            <p:spPr>
              <a:xfrm>
                <a:off x="6711488" y="2455470"/>
                <a:ext cx="409719" cy="368133"/>
              </a:xfrm>
              <a:custGeom>
                <a:avLst/>
                <a:gdLst/>
                <a:ahLst/>
                <a:cxnLst/>
                <a:rect l="l" t="t" r="r" b="b"/>
                <a:pathLst>
                  <a:path w="409719" h="368133" extrusionOk="0">
                    <a:moveTo>
                      <a:pt x="67405" y="258859"/>
                    </a:moveTo>
                    <a:cubicBezTo>
                      <a:pt x="97664" y="284421"/>
                      <a:pt x="129874" y="307579"/>
                      <a:pt x="163740" y="328120"/>
                    </a:cubicBezTo>
                    <a:cubicBezTo>
                      <a:pt x="194307" y="348174"/>
                      <a:pt x="223086" y="365401"/>
                      <a:pt x="259128" y="367602"/>
                    </a:cubicBezTo>
                    <a:cubicBezTo>
                      <a:pt x="300952" y="370158"/>
                      <a:pt x="350576" y="364419"/>
                      <a:pt x="372350" y="329963"/>
                    </a:cubicBezTo>
                    <a:cubicBezTo>
                      <a:pt x="391024" y="300415"/>
                      <a:pt x="417900" y="260817"/>
                      <a:pt x="407344" y="222614"/>
                    </a:cubicBezTo>
                    <a:cubicBezTo>
                      <a:pt x="403209" y="210389"/>
                      <a:pt x="396440" y="199222"/>
                      <a:pt x="387515" y="189903"/>
                    </a:cubicBezTo>
                    <a:cubicBezTo>
                      <a:pt x="373343" y="170696"/>
                      <a:pt x="356243" y="153836"/>
                      <a:pt x="336840" y="139940"/>
                    </a:cubicBezTo>
                    <a:cubicBezTo>
                      <a:pt x="310725" y="121340"/>
                      <a:pt x="286199" y="101447"/>
                      <a:pt x="258414" y="85143"/>
                    </a:cubicBezTo>
                    <a:cubicBezTo>
                      <a:pt x="227137" y="66789"/>
                      <a:pt x="194910" y="50399"/>
                      <a:pt x="163998" y="31346"/>
                    </a:cubicBezTo>
                    <a:cubicBezTo>
                      <a:pt x="142258" y="18142"/>
                      <a:pt x="119002" y="7617"/>
                      <a:pt x="94736" y="0"/>
                    </a:cubicBezTo>
                    <a:lnTo>
                      <a:pt x="5" y="196562"/>
                    </a:lnTo>
                    <a:cubicBezTo>
                      <a:pt x="22565" y="217150"/>
                      <a:pt x="44675" y="238265"/>
                      <a:pt x="67405" y="25885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399" name="Google Shape;399;p21"/>
              <p:cNvSpPr/>
              <p:nvPr/>
            </p:nvSpPr>
            <p:spPr>
              <a:xfrm>
                <a:off x="6381962" y="2447554"/>
                <a:ext cx="329526" cy="292546"/>
              </a:xfrm>
              <a:custGeom>
                <a:avLst/>
                <a:gdLst/>
                <a:ahLst/>
                <a:cxnLst/>
                <a:rect l="l" t="t" r="r" b="b"/>
                <a:pathLst>
                  <a:path w="329526" h="292546" extrusionOk="0">
                    <a:moveTo>
                      <a:pt x="108585" y="40492"/>
                    </a:moveTo>
                    <a:cubicBezTo>
                      <a:pt x="90590" y="29713"/>
                      <a:pt x="71185" y="20036"/>
                      <a:pt x="52516" y="10716"/>
                    </a:cubicBezTo>
                    <a:cubicBezTo>
                      <a:pt x="39193" y="4066"/>
                      <a:pt x="27733" y="-2518"/>
                      <a:pt x="13515" y="963"/>
                    </a:cubicBezTo>
                    <a:cubicBezTo>
                      <a:pt x="-7245" y="6045"/>
                      <a:pt x="702" y="27195"/>
                      <a:pt x="6160" y="43801"/>
                    </a:cubicBezTo>
                    <a:cubicBezTo>
                      <a:pt x="14383" y="66978"/>
                      <a:pt x="25147" y="89172"/>
                      <a:pt x="38253" y="109979"/>
                    </a:cubicBezTo>
                    <a:cubicBezTo>
                      <a:pt x="52833" y="133835"/>
                      <a:pt x="63956" y="158977"/>
                      <a:pt x="88300" y="175693"/>
                    </a:cubicBezTo>
                    <a:cubicBezTo>
                      <a:pt x="105613" y="187582"/>
                      <a:pt x="123507" y="198768"/>
                      <a:pt x="141055" y="210313"/>
                    </a:cubicBezTo>
                    <a:cubicBezTo>
                      <a:pt x="152353" y="217746"/>
                      <a:pt x="163464" y="226715"/>
                      <a:pt x="175310" y="233102"/>
                    </a:cubicBezTo>
                    <a:cubicBezTo>
                      <a:pt x="183056" y="237280"/>
                      <a:pt x="191022" y="239243"/>
                      <a:pt x="198691" y="243622"/>
                    </a:cubicBezTo>
                    <a:cubicBezTo>
                      <a:pt x="227782" y="260227"/>
                      <a:pt x="259151" y="273466"/>
                      <a:pt x="287088" y="292547"/>
                    </a:cubicBezTo>
                    <a:lnTo>
                      <a:pt x="329531" y="204479"/>
                    </a:lnTo>
                    <a:cubicBezTo>
                      <a:pt x="302564" y="179240"/>
                      <a:pt x="273961" y="155809"/>
                      <a:pt x="243910" y="134339"/>
                    </a:cubicBezTo>
                    <a:cubicBezTo>
                      <a:pt x="198868" y="102977"/>
                      <a:pt x="155846" y="68802"/>
                      <a:pt x="108585" y="4049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0" name="Google Shape;400;p21"/>
              <p:cNvSpPr/>
              <p:nvPr/>
            </p:nvSpPr>
            <p:spPr>
              <a:xfrm>
                <a:off x="6651890" y="1651506"/>
                <a:ext cx="447863" cy="273263"/>
              </a:xfrm>
              <a:custGeom>
                <a:avLst/>
                <a:gdLst/>
                <a:ahLst/>
                <a:cxnLst/>
                <a:rect l="l" t="t" r="r" b="b"/>
                <a:pathLst>
                  <a:path w="447863" h="273263" extrusionOk="0">
                    <a:moveTo>
                      <a:pt x="435612" y="182642"/>
                    </a:moveTo>
                    <a:cubicBezTo>
                      <a:pt x="427988" y="175557"/>
                      <a:pt x="418831" y="171418"/>
                      <a:pt x="411318" y="163525"/>
                    </a:cubicBezTo>
                    <a:cubicBezTo>
                      <a:pt x="403123" y="154919"/>
                      <a:pt x="394766" y="146455"/>
                      <a:pt x="386549" y="137866"/>
                    </a:cubicBezTo>
                    <a:cubicBezTo>
                      <a:pt x="361545" y="113074"/>
                      <a:pt x="333744" y="91274"/>
                      <a:pt x="303706" y="72907"/>
                    </a:cubicBezTo>
                    <a:cubicBezTo>
                      <a:pt x="289401" y="62194"/>
                      <a:pt x="274498" y="52303"/>
                      <a:pt x="259070" y="43283"/>
                    </a:cubicBezTo>
                    <a:cubicBezTo>
                      <a:pt x="249691" y="38588"/>
                      <a:pt x="241539" y="36051"/>
                      <a:pt x="232375" y="30465"/>
                    </a:cubicBezTo>
                    <a:cubicBezTo>
                      <a:pt x="222889" y="26080"/>
                      <a:pt x="213035" y="22543"/>
                      <a:pt x="202927" y="19892"/>
                    </a:cubicBezTo>
                    <a:cubicBezTo>
                      <a:pt x="184724" y="11873"/>
                      <a:pt x="165261" y="7096"/>
                      <a:pt x="145415" y="5778"/>
                    </a:cubicBezTo>
                    <a:cubicBezTo>
                      <a:pt x="136104" y="6048"/>
                      <a:pt x="126785" y="5751"/>
                      <a:pt x="117510" y="4891"/>
                    </a:cubicBezTo>
                    <a:cubicBezTo>
                      <a:pt x="105401" y="1602"/>
                      <a:pt x="92906" y="-43"/>
                      <a:pt x="80359" y="1"/>
                    </a:cubicBezTo>
                    <a:cubicBezTo>
                      <a:pt x="45840" y="2603"/>
                      <a:pt x="25992" y="19077"/>
                      <a:pt x="8432" y="45111"/>
                    </a:cubicBezTo>
                    <a:cubicBezTo>
                      <a:pt x="-209" y="57921"/>
                      <a:pt x="-5838" y="75130"/>
                      <a:pt x="10191" y="88700"/>
                    </a:cubicBezTo>
                    <a:cubicBezTo>
                      <a:pt x="32044" y="105092"/>
                      <a:pt x="56144" y="118249"/>
                      <a:pt x="81748" y="127764"/>
                    </a:cubicBezTo>
                    <a:cubicBezTo>
                      <a:pt x="102298" y="136376"/>
                      <a:pt x="122721" y="141857"/>
                      <a:pt x="143372" y="149278"/>
                    </a:cubicBezTo>
                    <a:cubicBezTo>
                      <a:pt x="155004" y="153459"/>
                      <a:pt x="166872" y="156114"/>
                      <a:pt x="178460" y="160465"/>
                    </a:cubicBezTo>
                    <a:cubicBezTo>
                      <a:pt x="188627" y="164853"/>
                      <a:pt x="198408" y="170089"/>
                      <a:pt x="207699" y="176117"/>
                    </a:cubicBezTo>
                    <a:cubicBezTo>
                      <a:pt x="228978" y="187569"/>
                      <a:pt x="251162" y="197253"/>
                      <a:pt x="274028" y="205070"/>
                    </a:cubicBezTo>
                    <a:cubicBezTo>
                      <a:pt x="303156" y="217350"/>
                      <a:pt x="331449" y="231525"/>
                      <a:pt x="358725" y="247506"/>
                    </a:cubicBezTo>
                    <a:cubicBezTo>
                      <a:pt x="375703" y="256420"/>
                      <a:pt x="392867" y="264914"/>
                      <a:pt x="410097" y="273263"/>
                    </a:cubicBezTo>
                    <a:lnTo>
                      <a:pt x="447868" y="194891"/>
                    </a:lnTo>
                    <a:cubicBezTo>
                      <a:pt x="443582" y="191015"/>
                      <a:pt x="440365" y="187057"/>
                      <a:pt x="435612" y="18264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1" name="Google Shape;401;p21"/>
              <p:cNvSpPr/>
              <p:nvPr/>
            </p:nvSpPr>
            <p:spPr>
              <a:xfrm>
                <a:off x="7099753" y="1759023"/>
                <a:ext cx="256859" cy="248347"/>
              </a:xfrm>
              <a:custGeom>
                <a:avLst/>
                <a:gdLst/>
                <a:ahLst/>
                <a:cxnLst/>
                <a:rect l="l" t="t" r="r" b="b"/>
                <a:pathLst>
                  <a:path w="256859" h="248347" extrusionOk="0">
                    <a:moveTo>
                      <a:pt x="30179" y="111307"/>
                    </a:moveTo>
                    <a:cubicBezTo>
                      <a:pt x="54914" y="137083"/>
                      <a:pt x="82586" y="159803"/>
                      <a:pt x="107123" y="185249"/>
                    </a:cubicBezTo>
                    <a:cubicBezTo>
                      <a:pt x="134110" y="213235"/>
                      <a:pt x="175207" y="240713"/>
                      <a:pt x="213797" y="247566"/>
                    </a:cubicBezTo>
                    <a:cubicBezTo>
                      <a:pt x="255677" y="255004"/>
                      <a:pt x="260273" y="207614"/>
                      <a:pt x="255203" y="178252"/>
                    </a:cubicBezTo>
                    <a:cubicBezTo>
                      <a:pt x="254406" y="169206"/>
                      <a:pt x="251007" y="160585"/>
                      <a:pt x="245418" y="153431"/>
                    </a:cubicBezTo>
                    <a:cubicBezTo>
                      <a:pt x="240910" y="147491"/>
                      <a:pt x="235930" y="141925"/>
                      <a:pt x="230527" y="136787"/>
                    </a:cubicBezTo>
                    <a:cubicBezTo>
                      <a:pt x="217692" y="123995"/>
                      <a:pt x="202414" y="115110"/>
                      <a:pt x="189297" y="102550"/>
                    </a:cubicBezTo>
                    <a:cubicBezTo>
                      <a:pt x="178255" y="91977"/>
                      <a:pt x="163714" y="84717"/>
                      <a:pt x="151983" y="74641"/>
                    </a:cubicBezTo>
                    <a:cubicBezTo>
                      <a:pt x="140010" y="64766"/>
                      <a:pt x="127397" y="55695"/>
                      <a:pt x="114226" y="47487"/>
                    </a:cubicBezTo>
                    <a:cubicBezTo>
                      <a:pt x="90135" y="31742"/>
                      <a:pt x="66153" y="15825"/>
                      <a:pt x="42113" y="0"/>
                    </a:cubicBezTo>
                    <a:lnTo>
                      <a:pt x="5" y="87375"/>
                    </a:lnTo>
                    <a:cubicBezTo>
                      <a:pt x="1965" y="89174"/>
                      <a:pt x="4055" y="90827"/>
                      <a:pt x="6257" y="92319"/>
                    </a:cubicBezTo>
                    <a:cubicBezTo>
                      <a:pt x="14930" y="97713"/>
                      <a:pt x="22956" y="104084"/>
                      <a:pt x="30179" y="111307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2" name="Google Shape;402;p21"/>
              <p:cNvSpPr/>
              <p:nvPr/>
            </p:nvSpPr>
            <p:spPr>
              <a:xfrm>
                <a:off x="6845934" y="2201206"/>
                <a:ext cx="601812" cy="401738"/>
              </a:xfrm>
              <a:custGeom>
                <a:avLst/>
                <a:gdLst/>
                <a:ahLst/>
                <a:cxnLst/>
                <a:rect l="l" t="t" r="r" b="b"/>
                <a:pathLst>
                  <a:path w="601812" h="401738" extrusionOk="0">
                    <a:moveTo>
                      <a:pt x="596228" y="350482"/>
                    </a:moveTo>
                    <a:cubicBezTo>
                      <a:pt x="602550" y="339045"/>
                      <a:pt x="603560" y="325414"/>
                      <a:pt x="598993" y="313169"/>
                    </a:cubicBezTo>
                    <a:cubicBezTo>
                      <a:pt x="595501" y="302179"/>
                      <a:pt x="591173" y="290556"/>
                      <a:pt x="586545" y="279886"/>
                    </a:cubicBezTo>
                    <a:cubicBezTo>
                      <a:pt x="569044" y="234139"/>
                      <a:pt x="534136" y="197195"/>
                      <a:pt x="489465" y="177144"/>
                    </a:cubicBezTo>
                    <a:cubicBezTo>
                      <a:pt x="462626" y="162397"/>
                      <a:pt x="435702" y="147626"/>
                      <a:pt x="408248" y="134155"/>
                    </a:cubicBezTo>
                    <a:cubicBezTo>
                      <a:pt x="346507" y="103400"/>
                      <a:pt x="282967" y="76403"/>
                      <a:pt x="217974" y="53311"/>
                    </a:cubicBezTo>
                    <a:cubicBezTo>
                      <a:pt x="176515" y="38811"/>
                      <a:pt x="136928" y="19473"/>
                      <a:pt x="95499" y="4781"/>
                    </a:cubicBezTo>
                    <a:cubicBezTo>
                      <a:pt x="91246" y="3273"/>
                      <a:pt x="87050" y="1598"/>
                      <a:pt x="82829" y="0"/>
                    </a:cubicBezTo>
                    <a:lnTo>
                      <a:pt x="5" y="171858"/>
                    </a:lnTo>
                    <a:cubicBezTo>
                      <a:pt x="58392" y="213237"/>
                      <a:pt x="116722" y="255049"/>
                      <a:pt x="178659" y="290275"/>
                    </a:cubicBezTo>
                    <a:cubicBezTo>
                      <a:pt x="209196" y="307642"/>
                      <a:pt x="241321" y="322077"/>
                      <a:pt x="272210" y="338774"/>
                    </a:cubicBezTo>
                    <a:cubicBezTo>
                      <a:pt x="291875" y="349735"/>
                      <a:pt x="312292" y="359286"/>
                      <a:pt x="333308" y="367355"/>
                    </a:cubicBezTo>
                    <a:cubicBezTo>
                      <a:pt x="369802" y="380079"/>
                      <a:pt x="407191" y="390076"/>
                      <a:pt x="445166" y="397261"/>
                    </a:cubicBezTo>
                    <a:cubicBezTo>
                      <a:pt x="463722" y="400705"/>
                      <a:pt x="482607" y="402052"/>
                      <a:pt x="501464" y="401276"/>
                    </a:cubicBezTo>
                    <a:cubicBezTo>
                      <a:pt x="518051" y="402530"/>
                      <a:pt x="534731" y="401233"/>
                      <a:pt x="550924" y="397430"/>
                    </a:cubicBezTo>
                    <a:cubicBezTo>
                      <a:pt x="572281" y="389342"/>
                      <a:pt x="588901" y="372120"/>
                      <a:pt x="596228" y="350482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3" name="Google Shape;403;p21"/>
              <p:cNvSpPr/>
              <p:nvPr/>
            </p:nvSpPr>
            <p:spPr>
              <a:xfrm>
                <a:off x="6996154" y="1924770"/>
                <a:ext cx="487882" cy="356654"/>
              </a:xfrm>
              <a:custGeom>
                <a:avLst/>
                <a:gdLst/>
                <a:ahLst/>
                <a:cxnLst/>
                <a:rect l="l" t="t" r="r" b="b"/>
                <a:pathLst>
                  <a:path w="487882" h="356654" extrusionOk="0">
                    <a:moveTo>
                      <a:pt x="66760" y="184869"/>
                    </a:moveTo>
                    <a:cubicBezTo>
                      <a:pt x="94480" y="204904"/>
                      <a:pt x="123982" y="222772"/>
                      <a:pt x="152468" y="241728"/>
                    </a:cubicBezTo>
                    <a:cubicBezTo>
                      <a:pt x="175072" y="256770"/>
                      <a:pt x="197592" y="267994"/>
                      <a:pt x="221210" y="281123"/>
                    </a:cubicBezTo>
                    <a:cubicBezTo>
                      <a:pt x="251734" y="300018"/>
                      <a:pt x="283548" y="316741"/>
                      <a:pt x="316417" y="331172"/>
                    </a:cubicBezTo>
                    <a:cubicBezTo>
                      <a:pt x="351755" y="344752"/>
                      <a:pt x="390611" y="360898"/>
                      <a:pt x="427183" y="355634"/>
                    </a:cubicBezTo>
                    <a:cubicBezTo>
                      <a:pt x="446674" y="352829"/>
                      <a:pt x="464438" y="348721"/>
                      <a:pt x="475959" y="333318"/>
                    </a:cubicBezTo>
                    <a:cubicBezTo>
                      <a:pt x="485688" y="320550"/>
                      <a:pt x="489722" y="304334"/>
                      <a:pt x="487110" y="288493"/>
                    </a:cubicBezTo>
                    <a:cubicBezTo>
                      <a:pt x="482381" y="269428"/>
                      <a:pt x="472568" y="252004"/>
                      <a:pt x="458718" y="238080"/>
                    </a:cubicBezTo>
                    <a:cubicBezTo>
                      <a:pt x="449620" y="226855"/>
                      <a:pt x="438840" y="217106"/>
                      <a:pt x="426761" y="209181"/>
                    </a:cubicBezTo>
                    <a:cubicBezTo>
                      <a:pt x="389957" y="185229"/>
                      <a:pt x="353399" y="160880"/>
                      <a:pt x="316719" y="136735"/>
                    </a:cubicBezTo>
                    <a:cubicBezTo>
                      <a:pt x="285545" y="116215"/>
                      <a:pt x="253678" y="98413"/>
                      <a:pt x="221627" y="79346"/>
                    </a:cubicBezTo>
                    <a:cubicBezTo>
                      <a:pt x="171275" y="49392"/>
                      <a:pt x="118243" y="25396"/>
                      <a:pt x="65833" y="0"/>
                    </a:cubicBezTo>
                    <a:lnTo>
                      <a:pt x="5" y="136592"/>
                    </a:lnTo>
                    <a:cubicBezTo>
                      <a:pt x="4858" y="139761"/>
                      <a:pt x="9678" y="142985"/>
                      <a:pt x="14536" y="146146"/>
                    </a:cubicBezTo>
                    <a:cubicBezTo>
                      <a:pt x="32937" y="158119"/>
                      <a:pt x="49020" y="172044"/>
                      <a:pt x="66760" y="184869"/>
                    </a:cubicBezTo>
                    <a:close/>
                  </a:path>
                </a:pathLst>
              </a:custGeom>
              <a:solidFill>
                <a:schemeClr val="dk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  <p:grpSp>
          <p:nvGrpSpPr>
            <p:cNvPr id="404" name="Google Shape;404;p21"/>
            <p:cNvGrpSpPr/>
            <p:nvPr/>
          </p:nvGrpSpPr>
          <p:grpSpPr>
            <a:xfrm>
              <a:off x="-805386" y="274048"/>
              <a:ext cx="1401328" cy="1383322"/>
              <a:chOff x="3921280" y="4065381"/>
              <a:chExt cx="1018333" cy="1005248"/>
            </a:xfrm>
          </p:grpSpPr>
          <p:sp>
            <p:nvSpPr>
              <p:cNvPr id="405" name="Google Shape;405;p21"/>
              <p:cNvSpPr/>
              <p:nvPr/>
            </p:nvSpPr>
            <p:spPr>
              <a:xfrm>
                <a:off x="3948097" y="4072964"/>
                <a:ext cx="580775" cy="369810"/>
              </a:xfrm>
              <a:custGeom>
                <a:avLst/>
                <a:gdLst/>
                <a:ahLst/>
                <a:cxnLst/>
                <a:rect l="l" t="t" r="r" b="b"/>
                <a:pathLst>
                  <a:path w="580775" h="369810" extrusionOk="0">
                    <a:moveTo>
                      <a:pt x="59305" y="363077"/>
                    </a:moveTo>
                    <a:cubicBezTo>
                      <a:pt x="76964" y="351506"/>
                      <a:pt x="99452" y="346681"/>
                      <a:pt x="117837" y="335464"/>
                    </a:cubicBezTo>
                    <a:cubicBezTo>
                      <a:pt x="140096" y="320738"/>
                      <a:pt x="161245" y="304398"/>
                      <a:pt x="181114" y="286575"/>
                    </a:cubicBezTo>
                    <a:cubicBezTo>
                      <a:pt x="199253" y="271463"/>
                      <a:pt x="216904" y="255922"/>
                      <a:pt x="235307" y="241136"/>
                    </a:cubicBezTo>
                    <a:cubicBezTo>
                      <a:pt x="256828" y="225855"/>
                      <a:pt x="280021" y="213079"/>
                      <a:pt x="304435" y="203055"/>
                    </a:cubicBezTo>
                    <a:cubicBezTo>
                      <a:pt x="355125" y="178315"/>
                      <a:pt x="405619" y="154111"/>
                      <a:pt x="456855" y="130612"/>
                    </a:cubicBezTo>
                    <a:cubicBezTo>
                      <a:pt x="494105" y="113527"/>
                      <a:pt x="535733" y="93900"/>
                      <a:pt x="567336" y="67241"/>
                    </a:cubicBezTo>
                    <a:cubicBezTo>
                      <a:pt x="607116" y="33683"/>
                      <a:pt x="549746" y="-23215"/>
                      <a:pt x="510236" y="10115"/>
                    </a:cubicBezTo>
                    <a:cubicBezTo>
                      <a:pt x="480083" y="35551"/>
                      <a:pt x="430245" y="55031"/>
                      <a:pt x="394425" y="70461"/>
                    </a:cubicBezTo>
                    <a:cubicBezTo>
                      <a:pt x="344791" y="91842"/>
                      <a:pt x="297461" y="117505"/>
                      <a:pt x="248645" y="140655"/>
                    </a:cubicBezTo>
                    <a:cubicBezTo>
                      <a:pt x="211166" y="159089"/>
                      <a:pt x="176556" y="182860"/>
                      <a:pt x="145894" y="211227"/>
                    </a:cubicBezTo>
                    <a:cubicBezTo>
                      <a:pt x="124484" y="231239"/>
                      <a:pt x="101469" y="249460"/>
                      <a:pt x="77081" y="265706"/>
                    </a:cubicBezTo>
                    <a:cubicBezTo>
                      <a:pt x="58426" y="277180"/>
                      <a:pt x="36683" y="281438"/>
                      <a:pt x="18548" y="293318"/>
                    </a:cubicBezTo>
                    <a:cubicBezTo>
                      <a:pt x="-24756" y="321690"/>
                      <a:pt x="15660" y="391672"/>
                      <a:pt x="59305" y="363077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6" name="Google Shape;406;p21"/>
              <p:cNvSpPr/>
              <p:nvPr/>
            </p:nvSpPr>
            <p:spPr>
              <a:xfrm>
                <a:off x="4063101" y="4065381"/>
                <a:ext cx="235196" cy="168615"/>
              </a:xfrm>
              <a:custGeom>
                <a:avLst/>
                <a:gdLst/>
                <a:ahLst/>
                <a:cxnLst/>
                <a:rect l="l" t="t" r="r" b="b"/>
                <a:pathLst>
                  <a:path w="235196" h="168615" extrusionOk="0">
                    <a:moveTo>
                      <a:pt x="20471" y="163025"/>
                    </a:moveTo>
                    <a:cubicBezTo>
                      <a:pt x="41087" y="175380"/>
                      <a:pt x="62567" y="165795"/>
                      <a:pt x="75714" y="148534"/>
                    </a:cubicBezTo>
                    <a:cubicBezTo>
                      <a:pt x="90036" y="129729"/>
                      <a:pt x="122395" y="124670"/>
                      <a:pt x="142832" y="115139"/>
                    </a:cubicBezTo>
                    <a:cubicBezTo>
                      <a:pt x="163912" y="105311"/>
                      <a:pt x="184059" y="85160"/>
                      <a:pt x="206510" y="79364"/>
                    </a:cubicBezTo>
                    <a:cubicBezTo>
                      <a:pt x="256792" y="66381"/>
                      <a:pt x="235477" y="-11561"/>
                      <a:pt x="185043" y="1461"/>
                    </a:cubicBezTo>
                    <a:cubicBezTo>
                      <a:pt x="151681" y="10075"/>
                      <a:pt x="124698" y="35943"/>
                      <a:pt x="92837" y="48798"/>
                    </a:cubicBezTo>
                    <a:cubicBezTo>
                      <a:pt x="56941" y="63281"/>
                      <a:pt x="29840" y="76440"/>
                      <a:pt x="5986" y="107758"/>
                    </a:cubicBezTo>
                    <a:cubicBezTo>
                      <a:pt x="-7331" y="125243"/>
                      <a:pt x="3391" y="152789"/>
                      <a:pt x="20471" y="16302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7" name="Google Shape;407;p21"/>
              <p:cNvSpPr/>
              <p:nvPr/>
            </p:nvSpPr>
            <p:spPr>
              <a:xfrm>
                <a:off x="3921280" y="4122942"/>
                <a:ext cx="783131" cy="485318"/>
              </a:xfrm>
              <a:custGeom>
                <a:avLst/>
                <a:gdLst/>
                <a:ahLst/>
                <a:cxnLst/>
                <a:rect l="l" t="t" r="r" b="b"/>
                <a:pathLst>
                  <a:path w="783131" h="485318" extrusionOk="0">
                    <a:moveTo>
                      <a:pt x="50170" y="483865"/>
                    </a:moveTo>
                    <a:cubicBezTo>
                      <a:pt x="76416" y="477109"/>
                      <a:pt x="102695" y="459032"/>
                      <a:pt x="126937" y="447005"/>
                    </a:cubicBezTo>
                    <a:cubicBezTo>
                      <a:pt x="162196" y="429514"/>
                      <a:pt x="196935" y="411201"/>
                      <a:pt x="231163" y="391766"/>
                    </a:cubicBezTo>
                    <a:cubicBezTo>
                      <a:pt x="268127" y="370777"/>
                      <a:pt x="301754" y="345136"/>
                      <a:pt x="338205" y="323583"/>
                    </a:cubicBezTo>
                    <a:cubicBezTo>
                      <a:pt x="370773" y="304325"/>
                      <a:pt x="407274" y="293069"/>
                      <a:pt x="440624" y="275253"/>
                    </a:cubicBezTo>
                    <a:cubicBezTo>
                      <a:pt x="551914" y="215802"/>
                      <a:pt x="658124" y="143481"/>
                      <a:pt x="764295" y="76219"/>
                    </a:cubicBezTo>
                    <a:cubicBezTo>
                      <a:pt x="808084" y="48479"/>
                      <a:pt x="767616" y="-21463"/>
                      <a:pt x="723538" y="6462"/>
                    </a:cubicBezTo>
                    <a:cubicBezTo>
                      <a:pt x="621378" y="71181"/>
                      <a:pt x="519019" y="138040"/>
                      <a:pt x="413434" y="197910"/>
                    </a:cubicBezTo>
                    <a:cubicBezTo>
                      <a:pt x="380399" y="216642"/>
                      <a:pt x="344586" y="228436"/>
                      <a:pt x="311154" y="246115"/>
                    </a:cubicBezTo>
                    <a:cubicBezTo>
                      <a:pt x="278526" y="263368"/>
                      <a:pt x="249717" y="287288"/>
                      <a:pt x="217991" y="306182"/>
                    </a:cubicBezTo>
                    <a:cubicBezTo>
                      <a:pt x="184857" y="325915"/>
                      <a:pt x="150899" y="344366"/>
                      <a:pt x="116581" y="361945"/>
                    </a:cubicBezTo>
                    <a:cubicBezTo>
                      <a:pt x="90004" y="375558"/>
                      <a:pt x="57692" y="398501"/>
                      <a:pt x="28702" y="405963"/>
                    </a:cubicBezTo>
                    <a:cubicBezTo>
                      <a:pt x="-21590" y="418909"/>
                      <a:pt x="-272" y="496850"/>
                      <a:pt x="50170" y="483865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8" name="Google Shape;408;p21"/>
              <p:cNvSpPr/>
              <p:nvPr/>
            </p:nvSpPr>
            <p:spPr>
              <a:xfrm>
                <a:off x="3947907" y="4214911"/>
                <a:ext cx="888984" cy="554549"/>
              </a:xfrm>
              <a:custGeom>
                <a:avLst/>
                <a:gdLst/>
                <a:ahLst/>
                <a:cxnLst/>
                <a:rect l="l" t="t" r="r" b="b"/>
                <a:pathLst>
                  <a:path w="888984" h="554549" extrusionOk="0">
                    <a:moveTo>
                      <a:pt x="258167" y="465864"/>
                    </a:moveTo>
                    <a:cubicBezTo>
                      <a:pt x="331705" y="420676"/>
                      <a:pt x="397088" y="368547"/>
                      <a:pt x="475042" y="329870"/>
                    </a:cubicBezTo>
                    <a:cubicBezTo>
                      <a:pt x="544952" y="295185"/>
                      <a:pt x="619993" y="256594"/>
                      <a:pt x="681758" y="208619"/>
                    </a:cubicBezTo>
                    <a:cubicBezTo>
                      <a:pt x="712132" y="182712"/>
                      <a:pt x="744256" y="158933"/>
                      <a:pt x="777902" y="137451"/>
                    </a:cubicBezTo>
                    <a:cubicBezTo>
                      <a:pt x="810589" y="119674"/>
                      <a:pt x="842067" y="99758"/>
                      <a:pt x="872132" y="77832"/>
                    </a:cubicBezTo>
                    <a:cubicBezTo>
                      <a:pt x="912674" y="46501"/>
                      <a:pt x="872510" y="-23715"/>
                      <a:pt x="831375" y="8075"/>
                    </a:cubicBezTo>
                    <a:cubicBezTo>
                      <a:pt x="775479" y="51272"/>
                      <a:pt x="711439" y="80288"/>
                      <a:pt x="656921" y="125764"/>
                    </a:cubicBezTo>
                    <a:cubicBezTo>
                      <a:pt x="595738" y="176797"/>
                      <a:pt x="520026" y="216606"/>
                      <a:pt x="449213" y="252625"/>
                    </a:cubicBezTo>
                    <a:cubicBezTo>
                      <a:pt x="375376" y="291481"/>
                      <a:pt x="304242" y="335273"/>
                      <a:pt x="236293" y="383703"/>
                    </a:cubicBezTo>
                    <a:cubicBezTo>
                      <a:pt x="201607" y="406384"/>
                      <a:pt x="164028" y="424290"/>
                      <a:pt x="124566" y="436939"/>
                    </a:cubicBezTo>
                    <a:cubicBezTo>
                      <a:pt x="92538" y="448210"/>
                      <a:pt x="60701" y="465426"/>
                      <a:pt x="28384" y="474838"/>
                    </a:cubicBezTo>
                    <a:cubicBezTo>
                      <a:pt x="-21413" y="489341"/>
                      <a:pt x="-227" y="567326"/>
                      <a:pt x="49850" y="552740"/>
                    </a:cubicBezTo>
                    <a:cubicBezTo>
                      <a:pt x="82542" y="543219"/>
                      <a:pt x="113691" y="526182"/>
                      <a:pt x="146032" y="514840"/>
                    </a:cubicBezTo>
                    <a:cubicBezTo>
                      <a:pt x="185046" y="502553"/>
                      <a:pt x="222637" y="486134"/>
                      <a:pt x="258167" y="465864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09" name="Google Shape;409;p21"/>
              <p:cNvSpPr/>
              <p:nvPr/>
            </p:nvSpPr>
            <p:spPr>
              <a:xfrm>
                <a:off x="4036751" y="4382052"/>
                <a:ext cx="865539" cy="567450"/>
              </a:xfrm>
              <a:custGeom>
                <a:avLst/>
                <a:gdLst/>
                <a:ahLst/>
                <a:cxnLst/>
                <a:rect l="l" t="t" r="r" b="b"/>
                <a:pathLst>
                  <a:path w="865539" h="567450" extrusionOk="0">
                    <a:moveTo>
                      <a:pt x="336526" y="375326"/>
                    </a:moveTo>
                    <a:cubicBezTo>
                      <a:pt x="366606" y="349102"/>
                      <a:pt x="399001" y="325662"/>
                      <a:pt x="433313" y="305292"/>
                    </a:cubicBezTo>
                    <a:cubicBezTo>
                      <a:pt x="503546" y="263874"/>
                      <a:pt x="575439" y="226412"/>
                      <a:pt x="646955" y="187353"/>
                    </a:cubicBezTo>
                    <a:cubicBezTo>
                      <a:pt x="684804" y="166681"/>
                      <a:pt x="722262" y="145299"/>
                      <a:pt x="760182" y="124756"/>
                    </a:cubicBezTo>
                    <a:cubicBezTo>
                      <a:pt x="791648" y="107711"/>
                      <a:pt x="826333" y="92499"/>
                      <a:pt x="852847" y="68144"/>
                    </a:cubicBezTo>
                    <a:cubicBezTo>
                      <a:pt x="891209" y="32904"/>
                      <a:pt x="833986" y="-24109"/>
                      <a:pt x="795746" y="11019"/>
                    </a:cubicBezTo>
                    <a:cubicBezTo>
                      <a:pt x="767749" y="36737"/>
                      <a:pt x="724114" y="52303"/>
                      <a:pt x="691050" y="70536"/>
                    </a:cubicBezTo>
                    <a:cubicBezTo>
                      <a:pt x="658008" y="88758"/>
                      <a:pt x="625196" y="107401"/>
                      <a:pt x="591990" y="125326"/>
                    </a:cubicBezTo>
                    <a:cubicBezTo>
                      <a:pt x="520568" y="163880"/>
                      <a:pt x="449291" y="201544"/>
                      <a:pt x="379571" y="243179"/>
                    </a:cubicBezTo>
                    <a:cubicBezTo>
                      <a:pt x="316838" y="280641"/>
                      <a:pt x="271136" y="332029"/>
                      <a:pt x="218059" y="380845"/>
                    </a:cubicBezTo>
                    <a:cubicBezTo>
                      <a:pt x="191158" y="404387"/>
                      <a:pt x="160954" y="423860"/>
                      <a:pt x="128411" y="438643"/>
                    </a:cubicBezTo>
                    <a:cubicBezTo>
                      <a:pt x="92489" y="456159"/>
                      <a:pt x="50058" y="466696"/>
                      <a:pt x="17589" y="490159"/>
                    </a:cubicBezTo>
                    <a:cubicBezTo>
                      <a:pt x="-24147" y="520323"/>
                      <a:pt x="16116" y="590438"/>
                      <a:pt x="58346" y="559918"/>
                    </a:cubicBezTo>
                    <a:cubicBezTo>
                      <a:pt x="90390" y="536760"/>
                      <a:pt x="133531" y="525778"/>
                      <a:pt x="169167" y="508400"/>
                    </a:cubicBezTo>
                    <a:cubicBezTo>
                      <a:pt x="203377" y="492244"/>
                      <a:pt x="235382" y="471780"/>
                      <a:pt x="264406" y="447507"/>
                    </a:cubicBezTo>
                    <a:cubicBezTo>
                      <a:pt x="290384" y="425302"/>
                      <a:pt x="310706" y="397627"/>
                      <a:pt x="336526" y="375326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0" name="Google Shape;410;p21"/>
              <p:cNvSpPr/>
              <p:nvPr/>
            </p:nvSpPr>
            <p:spPr>
              <a:xfrm>
                <a:off x="4482797" y="4854026"/>
                <a:ext cx="326877" cy="216603"/>
              </a:xfrm>
              <a:custGeom>
                <a:avLst/>
                <a:gdLst/>
                <a:ahLst/>
                <a:cxnLst/>
                <a:rect l="l" t="t" r="r" b="b"/>
                <a:pathLst>
                  <a:path w="326877" h="216603" extrusionOk="0">
                    <a:moveTo>
                      <a:pt x="256159" y="9881"/>
                    </a:moveTo>
                    <a:cubicBezTo>
                      <a:pt x="226451" y="34402"/>
                      <a:pt x="185089" y="47227"/>
                      <a:pt x="153099" y="68495"/>
                    </a:cubicBezTo>
                    <a:cubicBezTo>
                      <a:pt x="132396" y="82260"/>
                      <a:pt x="120933" y="99541"/>
                      <a:pt x="97506" y="110367"/>
                    </a:cubicBezTo>
                    <a:cubicBezTo>
                      <a:pt x="75159" y="120898"/>
                      <a:pt x="52072" y="129780"/>
                      <a:pt x="28430" y="136941"/>
                    </a:cubicBezTo>
                    <a:cubicBezTo>
                      <a:pt x="-21438" y="151239"/>
                      <a:pt x="-235" y="229216"/>
                      <a:pt x="49898" y="214843"/>
                    </a:cubicBezTo>
                    <a:cubicBezTo>
                      <a:pt x="75419" y="206845"/>
                      <a:pt x="100409" y="197237"/>
                      <a:pt x="124716" y="186078"/>
                    </a:cubicBezTo>
                    <a:cubicBezTo>
                      <a:pt x="154948" y="172989"/>
                      <a:pt x="169691" y="157320"/>
                      <a:pt x="194207" y="138197"/>
                    </a:cubicBezTo>
                    <a:cubicBezTo>
                      <a:pt x="230106" y="110195"/>
                      <a:pt x="277639" y="96408"/>
                      <a:pt x="313258" y="67007"/>
                    </a:cubicBezTo>
                    <a:cubicBezTo>
                      <a:pt x="353376" y="33894"/>
                      <a:pt x="295967" y="-22977"/>
                      <a:pt x="256159" y="9881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  <p:sp>
            <p:nvSpPr>
              <p:cNvPr id="411" name="Google Shape;411;p21"/>
              <p:cNvSpPr/>
              <p:nvPr/>
            </p:nvSpPr>
            <p:spPr>
              <a:xfrm>
                <a:off x="4207631" y="4583110"/>
                <a:ext cx="731982" cy="470540"/>
              </a:xfrm>
              <a:custGeom>
                <a:avLst/>
                <a:gdLst/>
                <a:ahLst/>
                <a:cxnLst/>
                <a:rect l="l" t="t" r="r" b="b"/>
                <a:pathLst>
                  <a:path w="731982" h="470540" extrusionOk="0">
                    <a:moveTo>
                      <a:pt x="662867" y="11748"/>
                    </a:moveTo>
                    <a:cubicBezTo>
                      <a:pt x="615615" y="58355"/>
                      <a:pt x="551642" y="78125"/>
                      <a:pt x="502036" y="120671"/>
                    </a:cubicBezTo>
                    <a:cubicBezTo>
                      <a:pt x="481878" y="140487"/>
                      <a:pt x="458307" y="156495"/>
                      <a:pt x="432457" y="167923"/>
                    </a:cubicBezTo>
                    <a:cubicBezTo>
                      <a:pt x="405625" y="179865"/>
                      <a:pt x="379703" y="193757"/>
                      <a:pt x="354900" y="209487"/>
                    </a:cubicBezTo>
                    <a:cubicBezTo>
                      <a:pt x="298547" y="242147"/>
                      <a:pt x="247639" y="282323"/>
                      <a:pt x="188042" y="309803"/>
                    </a:cubicBezTo>
                    <a:cubicBezTo>
                      <a:pt x="129125" y="336969"/>
                      <a:pt x="56509" y="351069"/>
                      <a:pt x="11004" y="400699"/>
                    </a:cubicBezTo>
                    <a:cubicBezTo>
                      <a:pt x="-24073" y="438956"/>
                      <a:pt x="32883" y="496238"/>
                      <a:pt x="68104" y="457824"/>
                    </a:cubicBezTo>
                    <a:cubicBezTo>
                      <a:pt x="112548" y="409352"/>
                      <a:pt x="194574" y="398489"/>
                      <a:pt x="251134" y="367559"/>
                    </a:cubicBezTo>
                    <a:cubicBezTo>
                      <a:pt x="308707" y="336076"/>
                      <a:pt x="362533" y="299227"/>
                      <a:pt x="419651" y="267391"/>
                    </a:cubicBezTo>
                    <a:cubicBezTo>
                      <a:pt x="443080" y="254333"/>
                      <a:pt x="465133" y="242926"/>
                      <a:pt x="489451" y="231323"/>
                    </a:cubicBezTo>
                    <a:cubicBezTo>
                      <a:pt x="519096" y="217177"/>
                      <a:pt x="537373" y="194224"/>
                      <a:pt x="562845" y="174956"/>
                    </a:cubicBezTo>
                    <a:cubicBezTo>
                      <a:pt x="589678" y="154660"/>
                      <a:pt x="623038" y="144338"/>
                      <a:pt x="649972" y="124590"/>
                    </a:cubicBezTo>
                    <a:cubicBezTo>
                      <a:pt x="674606" y="107717"/>
                      <a:pt x="697998" y="89097"/>
                      <a:pt x="719968" y="68874"/>
                    </a:cubicBezTo>
                    <a:cubicBezTo>
                      <a:pt x="757031" y="32315"/>
                      <a:pt x="699924" y="-24804"/>
                      <a:pt x="662867" y="11748"/>
                    </a:cubicBezTo>
                    <a:close/>
                  </a:path>
                </a:pathLst>
              </a:custGeom>
              <a:solidFill>
                <a:schemeClr val="lt2"/>
              </a:solidFill>
              <a:ln>
                <a:noFill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2400">
                  <a:solidFill>
                    <a:srgbClr val="000000"/>
                  </a:solidFill>
                  <a:latin typeface="Calibri"/>
                  <a:ea typeface="Calibri"/>
                  <a:cs typeface="Calibri"/>
                  <a:sym typeface="Calibri"/>
                </a:endParaRPr>
              </a:p>
            </p:txBody>
          </p:sp>
        </p:grpSp>
      </p:grpSp>
      <p:grpSp>
        <p:nvGrpSpPr>
          <p:cNvPr id="412" name="Google Shape;412;p21"/>
          <p:cNvGrpSpPr/>
          <p:nvPr/>
        </p:nvGrpSpPr>
        <p:grpSpPr>
          <a:xfrm>
            <a:off x="-1073847" y="4543464"/>
            <a:ext cx="15809219" cy="4639667"/>
            <a:chOff x="-805385" y="3407598"/>
            <a:chExt cx="11856914" cy="3479750"/>
          </a:xfrm>
        </p:grpSpPr>
        <p:sp>
          <p:nvSpPr>
            <p:cNvPr id="413" name="Google Shape;413;p21"/>
            <p:cNvSpPr/>
            <p:nvPr/>
          </p:nvSpPr>
          <p:spPr>
            <a:xfrm rot="-10171546">
              <a:off x="-633356" y="4603393"/>
              <a:ext cx="2239624" cy="2097859"/>
            </a:xfrm>
            <a:custGeom>
              <a:avLst/>
              <a:gdLst/>
              <a:ahLst/>
              <a:cxnLst/>
              <a:rect l="l" t="t" r="r" b="b"/>
              <a:pathLst>
                <a:path w="1850676" h="1733531" extrusionOk="0">
                  <a:moveTo>
                    <a:pt x="1392436" y="1733532"/>
                  </a:moveTo>
                  <a:cubicBezTo>
                    <a:pt x="1356116" y="1733435"/>
                    <a:pt x="1320056" y="1727407"/>
                    <a:pt x="1285678" y="1715686"/>
                  </a:cubicBezTo>
                  <a:cubicBezTo>
                    <a:pt x="1236246" y="1699120"/>
                    <a:pt x="1202707" y="1667331"/>
                    <a:pt x="1170265" y="1636579"/>
                  </a:cubicBezTo>
                  <a:cubicBezTo>
                    <a:pt x="1134465" y="1602648"/>
                    <a:pt x="1100652" y="1570585"/>
                    <a:pt x="1046178" y="1557516"/>
                  </a:cubicBezTo>
                  <a:cubicBezTo>
                    <a:pt x="936663" y="1531212"/>
                    <a:pt x="787034" y="1537364"/>
                    <a:pt x="645934" y="1573962"/>
                  </a:cubicBezTo>
                  <a:cubicBezTo>
                    <a:pt x="619752" y="1580748"/>
                    <a:pt x="594312" y="1588649"/>
                    <a:pt x="569708" y="1596287"/>
                  </a:cubicBezTo>
                  <a:cubicBezTo>
                    <a:pt x="501149" y="1617576"/>
                    <a:pt x="436413" y="1637672"/>
                    <a:pt x="358035" y="1635267"/>
                  </a:cubicBezTo>
                  <a:cubicBezTo>
                    <a:pt x="254669" y="1632077"/>
                    <a:pt x="171648" y="1597009"/>
                    <a:pt x="111287" y="1531026"/>
                  </a:cubicBezTo>
                  <a:cubicBezTo>
                    <a:pt x="1920" y="1411486"/>
                    <a:pt x="-4410" y="1219941"/>
                    <a:pt x="1554" y="1116410"/>
                  </a:cubicBezTo>
                  <a:cubicBezTo>
                    <a:pt x="8107" y="1002705"/>
                    <a:pt x="65082" y="916910"/>
                    <a:pt x="120184" y="833934"/>
                  </a:cubicBezTo>
                  <a:cubicBezTo>
                    <a:pt x="156891" y="778660"/>
                    <a:pt x="194848" y="721507"/>
                    <a:pt x="216967" y="656868"/>
                  </a:cubicBezTo>
                  <a:cubicBezTo>
                    <a:pt x="240961" y="586755"/>
                    <a:pt x="215209" y="540235"/>
                    <a:pt x="182615" y="481334"/>
                  </a:cubicBezTo>
                  <a:cubicBezTo>
                    <a:pt x="172598" y="463226"/>
                    <a:pt x="162238" y="444518"/>
                    <a:pt x="152740" y="423951"/>
                  </a:cubicBezTo>
                  <a:cubicBezTo>
                    <a:pt x="135263" y="386107"/>
                    <a:pt x="109998" y="314530"/>
                    <a:pt x="137219" y="260338"/>
                  </a:cubicBezTo>
                  <a:cubicBezTo>
                    <a:pt x="151932" y="231046"/>
                    <a:pt x="179130" y="211474"/>
                    <a:pt x="218109" y="202115"/>
                  </a:cubicBezTo>
                  <a:cubicBezTo>
                    <a:pt x="233358" y="184870"/>
                    <a:pt x="291950" y="118603"/>
                    <a:pt x="292911" y="117516"/>
                  </a:cubicBezTo>
                  <a:cubicBezTo>
                    <a:pt x="386915" y="11220"/>
                    <a:pt x="545185" y="-46895"/>
                    <a:pt x="665864" y="47653"/>
                  </a:cubicBezTo>
                  <a:cubicBezTo>
                    <a:pt x="728262" y="96551"/>
                    <a:pt x="749163" y="170319"/>
                    <a:pt x="755706" y="223593"/>
                  </a:cubicBezTo>
                  <a:cubicBezTo>
                    <a:pt x="757972" y="242056"/>
                    <a:pt x="759469" y="260600"/>
                    <a:pt x="760911" y="278544"/>
                  </a:cubicBezTo>
                  <a:cubicBezTo>
                    <a:pt x="768322" y="370622"/>
                    <a:pt x="774723" y="450145"/>
                    <a:pt x="879443" y="483377"/>
                  </a:cubicBezTo>
                  <a:cubicBezTo>
                    <a:pt x="947576" y="504993"/>
                    <a:pt x="1018346" y="489694"/>
                    <a:pt x="1065714" y="473050"/>
                  </a:cubicBezTo>
                  <a:cubicBezTo>
                    <a:pt x="1076682" y="469192"/>
                    <a:pt x="1087522" y="464920"/>
                    <a:pt x="1098369" y="460647"/>
                  </a:cubicBezTo>
                  <a:cubicBezTo>
                    <a:pt x="1124661" y="449293"/>
                    <a:pt x="1152031" y="440620"/>
                    <a:pt x="1180062" y="434759"/>
                  </a:cubicBezTo>
                  <a:cubicBezTo>
                    <a:pt x="1214374" y="428050"/>
                    <a:pt x="1249918" y="436281"/>
                    <a:pt x="1277792" y="457391"/>
                  </a:cubicBezTo>
                  <a:cubicBezTo>
                    <a:pt x="1333641" y="498676"/>
                    <a:pt x="1362178" y="582722"/>
                    <a:pt x="1370256" y="647613"/>
                  </a:cubicBezTo>
                  <a:cubicBezTo>
                    <a:pt x="1376171" y="695128"/>
                    <a:pt x="1366482" y="741538"/>
                    <a:pt x="1357110" y="786420"/>
                  </a:cubicBezTo>
                  <a:cubicBezTo>
                    <a:pt x="1346280" y="838283"/>
                    <a:pt x="1336055" y="887262"/>
                    <a:pt x="1348721" y="936350"/>
                  </a:cubicBezTo>
                  <a:cubicBezTo>
                    <a:pt x="1354781" y="963365"/>
                    <a:pt x="1371188" y="986926"/>
                    <a:pt x="1394418" y="1001973"/>
                  </a:cubicBezTo>
                  <a:cubicBezTo>
                    <a:pt x="1424582" y="1019698"/>
                    <a:pt x="1464577" y="1012038"/>
                    <a:pt x="1506920" y="1003929"/>
                  </a:cubicBezTo>
                  <a:cubicBezTo>
                    <a:pt x="1559777" y="993810"/>
                    <a:pt x="1614425" y="983374"/>
                    <a:pt x="1655720" y="1022758"/>
                  </a:cubicBezTo>
                  <a:cubicBezTo>
                    <a:pt x="1673891" y="1040100"/>
                    <a:pt x="1678746" y="1063803"/>
                    <a:pt x="1683027" y="1084719"/>
                  </a:cubicBezTo>
                  <a:cubicBezTo>
                    <a:pt x="1684027" y="1089615"/>
                    <a:pt x="1685022" y="1094488"/>
                    <a:pt x="1686191" y="1099232"/>
                  </a:cubicBezTo>
                  <a:cubicBezTo>
                    <a:pt x="1695508" y="1137085"/>
                    <a:pt x="1722384" y="1162165"/>
                    <a:pt x="1750838" y="1188709"/>
                  </a:cubicBezTo>
                  <a:cubicBezTo>
                    <a:pt x="1769456" y="1205017"/>
                    <a:pt x="1786430" y="1223113"/>
                    <a:pt x="1801516" y="1242737"/>
                  </a:cubicBezTo>
                  <a:cubicBezTo>
                    <a:pt x="1812476" y="1257849"/>
                    <a:pt x="1821933" y="1273997"/>
                    <a:pt x="1829752" y="1290951"/>
                  </a:cubicBezTo>
                  <a:lnTo>
                    <a:pt x="1829752" y="1290951"/>
                  </a:lnTo>
                  <a:cubicBezTo>
                    <a:pt x="1913620" y="1473840"/>
                    <a:pt x="1725044" y="1592026"/>
                    <a:pt x="1623732" y="1655528"/>
                  </a:cubicBezTo>
                  <a:cubicBezTo>
                    <a:pt x="1562262" y="1694048"/>
                    <a:pt x="1484523" y="1733532"/>
                    <a:pt x="1392436" y="1733532"/>
                  </a:cubicBezTo>
                  <a:close/>
                  <a:moveTo>
                    <a:pt x="894484" y="1507881"/>
                  </a:moveTo>
                  <a:cubicBezTo>
                    <a:pt x="948137" y="1507342"/>
                    <a:pt x="1001671" y="1513041"/>
                    <a:pt x="1054010" y="1524863"/>
                  </a:cubicBezTo>
                  <a:cubicBezTo>
                    <a:pt x="1117211" y="1540042"/>
                    <a:pt x="1155918" y="1576727"/>
                    <a:pt x="1193345" y="1612210"/>
                  </a:cubicBezTo>
                  <a:cubicBezTo>
                    <a:pt x="1224509" y="1641748"/>
                    <a:pt x="1253941" y="1669647"/>
                    <a:pt x="1296340" y="1683864"/>
                  </a:cubicBezTo>
                  <a:cubicBezTo>
                    <a:pt x="1396340" y="1717359"/>
                    <a:pt x="1488930" y="1700409"/>
                    <a:pt x="1605916" y="1627072"/>
                  </a:cubicBezTo>
                  <a:cubicBezTo>
                    <a:pt x="1734088" y="1546741"/>
                    <a:pt x="1865301" y="1448980"/>
                    <a:pt x="1799256" y="1304950"/>
                  </a:cubicBezTo>
                  <a:lnTo>
                    <a:pt x="1799256" y="1304960"/>
                  </a:lnTo>
                  <a:cubicBezTo>
                    <a:pt x="1792352" y="1289997"/>
                    <a:pt x="1784004" y="1275745"/>
                    <a:pt x="1774328" y="1262407"/>
                  </a:cubicBezTo>
                  <a:cubicBezTo>
                    <a:pt x="1760504" y="1244557"/>
                    <a:pt x="1744972" y="1228098"/>
                    <a:pt x="1727954" y="1213264"/>
                  </a:cubicBezTo>
                  <a:cubicBezTo>
                    <a:pt x="1697157" y="1184523"/>
                    <a:pt x="1665311" y="1154821"/>
                    <a:pt x="1653607" y="1107253"/>
                  </a:cubicBezTo>
                  <a:cubicBezTo>
                    <a:pt x="1652334" y="1102084"/>
                    <a:pt x="1651247" y="1096783"/>
                    <a:pt x="1650155" y="1091461"/>
                  </a:cubicBezTo>
                  <a:cubicBezTo>
                    <a:pt x="1646539" y="1073813"/>
                    <a:pt x="1643126" y="1057137"/>
                    <a:pt x="1632557" y="1047050"/>
                  </a:cubicBezTo>
                  <a:cubicBezTo>
                    <a:pt x="1603749" y="1019577"/>
                    <a:pt x="1559771" y="1027992"/>
                    <a:pt x="1513228" y="1036909"/>
                  </a:cubicBezTo>
                  <a:cubicBezTo>
                    <a:pt x="1466646" y="1045826"/>
                    <a:pt x="1418487" y="1055060"/>
                    <a:pt x="1377422" y="1030910"/>
                  </a:cubicBezTo>
                  <a:cubicBezTo>
                    <a:pt x="1346504" y="1011344"/>
                    <a:pt x="1324525" y="980391"/>
                    <a:pt x="1316236" y="944743"/>
                  </a:cubicBezTo>
                  <a:cubicBezTo>
                    <a:pt x="1301605" y="888060"/>
                    <a:pt x="1313122" y="832907"/>
                    <a:pt x="1324264" y="779557"/>
                  </a:cubicBezTo>
                  <a:cubicBezTo>
                    <a:pt x="1333478" y="735419"/>
                    <a:pt x="1342184" y="693729"/>
                    <a:pt x="1336962" y="651766"/>
                  </a:cubicBezTo>
                  <a:cubicBezTo>
                    <a:pt x="1330070" y="596437"/>
                    <a:pt x="1305214" y="519396"/>
                    <a:pt x="1257851" y="484393"/>
                  </a:cubicBezTo>
                  <a:cubicBezTo>
                    <a:pt x="1237376" y="468739"/>
                    <a:pt x="1211140" y="462700"/>
                    <a:pt x="1185885" y="467827"/>
                  </a:cubicBezTo>
                  <a:cubicBezTo>
                    <a:pt x="1160066" y="473309"/>
                    <a:pt x="1134862" y="481371"/>
                    <a:pt x="1110652" y="491890"/>
                  </a:cubicBezTo>
                  <a:cubicBezTo>
                    <a:pt x="1099429" y="496316"/>
                    <a:pt x="1088195" y="500731"/>
                    <a:pt x="1076834" y="504719"/>
                  </a:cubicBezTo>
                  <a:cubicBezTo>
                    <a:pt x="1024633" y="523056"/>
                    <a:pt x="946254" y="539820"/>
                    <a:pt x="869296" y="515374"/>
                  </a:cubicBezTo>
                  <a:cubicBezTo>
                    <a:pt x="743085" y="475323"/>
                    <a:pt x="735143" y="376655"/>
                    <a:pt x="727464" y="281243"/>
                  </a:cubicBezTo>
                  <a:cubicBezTo>
                    <a:pt x="726050" y="263650"/>
                    <a:pt x="724581" y="245454"/>
                    <a:pt x="722401" y="227691"/>
                  </a:cubicBezTo>
                  <a:cubicBezTo>
                    <a:pt x="716628" y="180701"/>
                    <a:pt x="698539" y="115904"/>
                    <a:pt x="645175" y="74082"/>
                  </a:cubicBezTo>
                  <a:cubicBezTo>
                    <a:pt x="540822" y="-7663"/>
                    <a:pt x="401639" y="45227"/>
                    <a:pt x="318077" y="139721"/>
                  </a:cubicBezTo>
                  <a:lnTo>
                    <a:pt x="317362" y="139087"/>
                  </a:lnTo>
                  <a:cubicBezTo>
                    <a:pt x="309683" y="149218"/>
                    <a:pt x="290010" y="171461"/>
                    <a:pt x="239650" y="228417"/>
                  </a:cubicBezTo>
                  <a:lnTo>
                    <a:pt x="235969" y="232587"/>
                  </a:lnTo>
                  <a:lnTo>
                    <a:pt x="230528" y="233728"/>
                  </a:lnTo>
                  <a:cubicBezTo>
                    <a:pt x="199087" y="240324"/>
                    <a:pt x="177781" y="254349"/>
                    <a:pt x="167202" y="275408"/>
                  </a:cubicBezTo>
                  <a:cubicBezTo>
                    <a:pt x="146307" y="317021"/>
                    <a:pt x="168257" y="377519"/>
                    <a:pt x="183205" y="409876"/>
                  </a:cubicBezTo>
                  <a:cubicBezTo>
                    <a:pt x="192189" y="429327"/>
                    <a:pt x="202243" y="447501"/>
                    <a:pt x="211971" y="465073"/>
                  </a:cubicBezTo>
                  <a:cubicBezTo>
                    <a:pt x="245684" y="525996"/>
                    <a:pt x="277531" y="583531"/>
                    <a:pt x="248710" y="667753"/>
                  </a:cubicBezTo>
                  <a:cubicBezTo>
                    <a:pt x="225193" y="736479"/>
                    <a:pt x="186018" y="795468"/>
                    <a:pt x="148135" y="852511"/>
                  </a:cubicBezTo>
                  <a:cubicBezTo>
                    <a:pt x="93084" y="935410"/>
                    <a:pt x="41084" y="1013709"/>
                    <a:pt x="35055" y="1118333"/>
                  </a:cubicBezTo>
                  <a:cubicBezTo>
                    <a:pt x="29396" y="1216586"/>
                    <a:pt x="34989" y="1397914"/>
                    <a:pt x="136039" y="1508362"/>
                  </a:cubicBezTo>
                  <a:cubicBezTo>
                    <a:pt x="190059" y="1567406"/>
                    <a:pt x="265095" y="1598812"/>
                    <a:pt x="359071" y="1601719"/>
                  </a:cubicBezTo>
                  <a:cubicBezTo>
                    <a:pt x="431798" y="1603937"/>
                    <a:pt x="493967" y="1584650"/>
                    <a:pt x="559762" y="1564225"/>
                  </a:cubicBezTo>
                  <a:cubicBezTo>
                    <a:pt x="584737" y="1556477"/>
                    <a:pt x="610560" y="1548456"/>
                    <a:pt x="637513" y="1541462"/>
                  </a:cubicBezTo>
                  <a:cubicBezTo>
                    <a:pt x="721437" y="1519605"/>
                    <a:pt x="807763" y="1508324"/>
                    <a:pt x="894484" y="1507881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4" name="Google Shape;414;p21"/>
            <p:cNvSpPr/>
            <p:nvPr/>
          </p:nvSpPr>
          <p:spPr>
            <a:xfrm>
              <a:off x="8705096" y="3407598"/>
              <a:ext cx="2346433" cy="1683429"/>
            </a:xfrm>
            <a:custGeom>
              <a:avLst/>
              <a:gdLst/>
              <a:ahLst/>
              <a:cxnLst/>
              <a:rect l="l" t="t" r="r" b="b"/>
              <a:pathLst>
                <a:path w="1939201" h="1391264" extrusionOk="0">
                  <a:moveTo>
                    <a:pt x="1267674" y="1391264"/>
                  </a:moveTo>
                  <a:cubicBezTo>
                    <a:pt x="1161742" y="1391274"/>
                    <a:pt x="1046799" y="1287114"/>
                    <a:pt x="965193" y="1203161"/>
                  </a:cubicBezTo>
                  <a:cubicBezTo>
                    <a:pt x="929503" y="1165024"/>
                    <a:pt x="896376" y="1124564"/>
                    <a:pt x="866032" y="1082047"/>
                  </a:cubicBezTo>
                  <a:cubicBezTo>
                    <a:pt x="780319" y="967117"/>
                    <a:pt x="712597" y="876356"/>
                    <a:pt x="543692" y="913489"/>
                  </a:cubicBezTo>
                  <a:cubicBezTo>
                    <a:pt x="371403" y="951404"/>
                    <a:pt x="246890" y="922045"/>
                    <a:pt x="139974" y="818388"/>
                  </a:cubicBezTo>
                  <a:cubicBezTo>
                    <a:pt x="31933" y="713650"/>
                    <a:pt x="-22125" y="551021"/>
                    <a:pt x="8504" y="422897"/>
                  </a:cubicBezTo>
                  <a:cubicBezTo>
                    <a:pt x="39606" y="285532"/>
                    <a:pt x="127951" y="168035"/>
                    <a:pt x="251249" y="100053"/>
                  </a:cubicBezTo>
                  <a:cubicBezTo>
                    <a:pt x="484707" y="-34531"/>
                    <a:pt x="799358" y="-12948"/>
                    <a:pt x="997853" y="46424"/>
                  </a:cubicBezTo>
                  <a:cubicBezTo>
                    <a:pt x="1100519" y="77131"/>
                    <a:pt x="1189137" y="140666"/>
                    <a:pt x="1274841" y="202108"/>
                  </a:cubicBezTo>
                  <a:cubicBezTo>
                    <a:pt x="1365470" y="267085"/>
                    <a:pt x="1451073" y="328457"/>
                    <a:pt x="1550977" y="353335"/>
                  </a:cubicBezTo>
                  <a:cubicBezTo>
                    <a:pt x="1560483" y="355578"/>
                    <a:pt x="1570377" y="355617"/>
                    <a:pt x="1579900" y="353449"/>
                  </a:cubicBezTo>
                  <a:cubicBezTo>
                    <a:pt x="1591653" y="351051"/>
                    <a:pt x="1603746" y="350842"/>
                    <a:pt x="1615574" y="352831"/>
                  </a:cubicBezTo>
                  <a:cubicBezTo>
                    <a:pt x="1805092" y="387583"/>
                    <a:pt x="1821071" y="429005"/>
                    <a:pt x="1826325" y="442616"/>
                  </a:cubicBezTo>
                  <a:cubicBezTo>
                    <a:pt x="1830697" y="453810"/>
                    <a:pt x="1830174" y="466325"/>
                    <a:pt x="1824884" y="477115"/>
                  </a:cubicBezTo>
                  <a:cubicBezTo>
                    <a:pt x="1933700" y="626500"/>
                    <a:pt x="2000856" y="937470"/>
                    <a:pt x="1857009" y="1086811"/>
                  </a:cubicBezTo>
                  <a:cubicBezTo>
                    <a:pt x="1764304" y="1183064"/>
                    <a:pt x="1703037" y="1183485"/>
                    <a:pt x="1585285" y="1161476"/>
                  </a:cubicBezTo>
                  <a:lnTo>
                    <a:pt x="1574111" y="1159361"/>
                  </a:lnTo>
                  <a:cubicBezTo>
                    <a:pt x="1517694" y="1148635"/>
                    <a:pt x="1505984" y="1146423"/>
                    <a:pt x="1468289" y="1184895"/>
                  </a:cubicBezTo>
                  <a:cubicBezTo>
                    <a:pt x="1448637" y="1204969"/>
                    <a:pt x="1435213" y="1233109"/>
                    <a:pt x="1420992" y="1262899"/>
                  </a:cubicBezTo>
                  <a:cubicBezTo>
                    <a:pt x="1397551" y="1312041"/>
                    <a:pt x="1373301" y="1362851"/>
                    <a:pt x="1317594" y="1382778"/>
                  </a:cubicBezTo>
                  <a:cubicBezTo>
                    <a:pt x="1301569" y="1388468"/>
                    <a:pt x="1284680" y="1391339"/>
                    <a:pt x="1267675" y="1391264"/>
                  </a:cubicBezTo>
                  <a:close/>
                  <a:moveTo>
                    <a:pt x="615008" y="871547"/>
                  </a:moveTo>
                  <a:cubicBezTo>
                    <a:pt x="750914" y="871547"/>
                    <a:pt x="820199" y="964457"/>
                    <a:pt x="892925" y="1061966"/>
                  </a:cubicBezTo>
                  <a:cubicBezTo>
                    <a:pt x="922415" y="1103299"/>
                    <a:pt x="954592" y="1142646"/>
                    <a:pt x="989245" y="1179753"/>
                  </a:cubicBezTo>
                  <a:cubicBezTo>
                    <a:pt x="1040059" y="1232027"/>
                    <a:pt x="1194589" y="1391127"/>
                    <a:pt x="1306300" y="1351164"/>
                  </a:cubicBezTo>
                  <a:cubicBezTo>
                    <a:pt x="1348976" y="1335897"/>
                    <a:pt x="1369249" y="1293414"/>
                    <a:pt x="1390712" y="1248441"/>
                  </a:cubicBezTo>
                  <a:cubicBezTo>
                    <a:pt x="1405480" y="1217482"/>
                    <a:pt x="1420762" y="1185468"/>
                    <a:pt x="1444323" y="1161400"/>
                  </a:cubicBezTo>
                  <a:cubicBezTo>
                    <a:pt x="1494591" y="1110072"/>
                    <a:pt x="1521473" y="1115163"/>
                    <a:pt x="1580382" y="1126382"/>
                  </a:cubicBezTo>
                  <a:lnTo>
                    <a:pt x="1591446" y="1128474"/>
                  </a:lnTo>
                  <a:cubicBezTo>
                    <a:pt x="1701464" y="1149041"/>
                    <a:pt x="1750749" y="1148762"/>
                    <a:pt x="1832847" y="1063513"/>
                  </a:cubicBezTo>
                  <a:cubicBezTo>
                    <a:pt x="1962886" y="928504"/>
                    <a:pt x="1898375" y="626292"/>
                    <a:pt x="1791426" y="488442"/>
                  </a:cubicBezTo>
                  <a:lnTo>
                    <a:pt x="1783496" y="478230"/>
                  </a:lnTo>
                  <a:lnTo>
                    <a:pt x="1791350" y="467957"/>
                  </a:lnTo>
                  <a:cubicBezTo>
                    <a:pt x="1797183" y="460308"/>
                    <a:pt x="1795730" y="456526"/>
                    <a:pt x="1795020" y="454707"/>
                  </a:cubicBezTo>
                  <a:cubicBezTo>
                    <a:pt x="1788029" y="436583"/>
                    <a:pt x="1735621" y="408974"/>
                    <a:pt x="1609524" y="385856"/>
                  </a:cubicBezTo>
                  <a:cubicBezTo>
                    <a:pt x="1601425" y="384582"/>
                    <a:pt x="1593160" y="384836"/>
                    <a:pt x="1585154" y="386605"/>
                  </a:cubicBezTo>
                  <a:cubicBezTo>
                    <a:pt x="1571184" y="389528"/>
                    <a:pt x="1556738" y="389291"/>
                    <a:pt x="1542871" y="385911"/>
                  </a:cubicBezTo>
                  <a:cubicBezTo>
                    <a:pt x="1436743" y="359482"/>
                    <a:pt x="1344497" y="293351"/>
                    <a:pt x="1255288" y="229396"/>
                  </a:cubicBezTo>
                  <a:cubicBezTo>
                    <a:pt x="1171836" y="169560"/>
                    <a:pt x="1085533" y="107686"/>
                    <a:pt x="988240" y="78584"/>
                  </a:cubicBezTo>
                  <a:cubicBezTo>
                    <a:pt x="780953" y="16580"/>
                    <a:pt x="477858" y="8170"/>
                    <a:pt x="267992" y="129143"/>
                  </a:cubicBezTo>
                  <a:cubicBezTo>
                    <a:pt x="152786" y="192628"/>
                    <a:pt x="70224" y="302382"/>
                    <a:pt x="41142" y="430710"/>
                  </a:cubicBezTo>
                  <a:cubicBezTo>
                    <a:pt x="13124" y="547873"/>
                    <a:pt x="63371" y="697384"/>
                    <a:pt x="163328" y="794281"/>
                  </a:cubicBezTo>
                  <a:cubicBezTo>
                    <a:pt x="261275" y="889235"/>
                    <a:pt x="376328" y="915899"/>
                    <a:pt x="536482" y="880705"/>
                  </a:cubicBezTo>
                  <a:cubicBezTo>
                    <a:pt x="562250" y="874823"/>
                    <a:pt x="588579" y="871752"/>
                    <a:pt x="615008" y="871547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 1">
  <p:cSld name="CUSTOM_9_1_1">
    <p:spTree>
      <p:nvGrpSpPr>
        <p:cNvPr id="1" name="Shape 4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6" name="Google Shape;416;p22"/>
          <p:cNvGrpSpPr/>
          <p:nvPr/>
        </p:nvGrpSpPr>
        <p:grpSpPr>
          <a:xfrm>
            <a:off x="-1905167" y="-1430626"/>
            <a:ext cx="15147904" cy="9135276"/>
            <a:chOff x="-1428875" y="-1072970"/>
            <a:chExt cx="11360928" cy="6851457"/>
          </a:xfrm>
        </p:grpSpPr>
        <p:sp>
          <p:nvSpPr>
            <p:cNvPr id="417" name="Google Shape;417;p22"/>
            <p:cNvSpPr/>
            <p:nvPr/>
          </p:nvSpPr>
          <p:spPr>
            <a:xfrm>
              <a:off x="7824028" y="3734333"/>
              <a:ext cx="2108025" cy="2044154"/>
            </a:xfrm>
            <a:custGeom>
              <a:avLst/>
              <a:gdLst/>
              <a:ahLst/>
              <a:cxnLst/>
              <a:rect l="l" t="t" r="r" b="b"/>
              <a:pathLst>
                <a:path w="1903409" h="1845737" extrusionOk="0">
                  <a:moveTo>
                    <a:pt x="1093751" y="1845737"/>
                  </a:moveTo>
                  <a:cubicBezTo>
                    <a:pt x="1091621" y="1845737"/>
                    <a:pt x="1089502" y="1845704"/>
                    <a:pt x="1087372" y="1845628"/>
                  </a:cubicBezTo>
                  <a:cubicBezTo>
                    <a:pt x="1015564" y="1843158"/>
                    <a:pt x="956360" y="1784738"/>
                    <a:pt x="904136" y="1733190"/>
                  </a:cubicBezTo>
                  <a:cubicBezTo>
                    <a:pt x="884306" y="1712576"/>
                    <a:pt x="863092" y="1693342"/>
                    <a:pt x="840641" y="1675622"/>
                  </a:cubicBezTo>
                  <a:cubicBezTo>
                    <a:pt x="784340" y="1632990"/>
                    <a:pt x="716602" y="1608139"/>
                    <a:pt x="646100" y="1604252"/>
                  </a:cubicBezTo>
                  <a:cubicBezTo>
                    <a:pt x="593304" y="1601687"/>
                    <a:pt x="540410" y="1601924"/>
                    <a:pt x="487639" y="1604963"/>
                  </a:cubicBezTo>
                  <a:cubicBezTo>
                    <a:pt x="313176" y="1611945"/>
                    <a:pt x="148379" y="1618524"/>
                    <a:pt x="51425" y="1406062"/>
                  </a:cubicBezTo>
                  <a:cubicBezTo>
                    <a:pt x="-35173" y="1216322"/>
                    <a:pt x="-11820" y="1047157"/>
                    <a:pt x="117171" y="929736"/>
                  </a:cubicBezTo>
                  <a:cubicBezTo>
                    <a:pt x="190475" y="863010"/>
                    <a:pt x="255959" y="836128"/>
                    <a:pt x="355917" y="908263"/>
                  </a:cubicBezTo>
                  <a:cubicBezTo>
                    <a:pt x="396071" y="937255"/>
                    <a:pt x="421292" y="979087"/>
                    <a:pt x="445694" y="1019542"/>
                  </a:cubicBezTo>
                  <a:cubicBezTo>
                    <a:pt x="471319" y="1062019"/>
                    <a:pt x="495514" y="1102147"/>
                    <a:pt x="534029" y="1121565"/>
                  </a:cubicBezTo>
                  <a:cubicBezTo>
                    <a:pt x="592216" y="1150928"/>
                    <a:pt x="661076" y="1155551"/>
                    <a:pt x="713748" y="1133576"/>
                  </a:cubicBezTo>
                  <a:cubicBezTo>
                    <a:pt x="749381" y="1119598"/>
                    <a:pt x="776832" y="1090316"/>
                    <a:pt x="788494" y="1053846"/>
                  </a:cubicBezTo>
                  <a:cubicBezTo>
                    <a:pt x="824846" y="941910"/>
                    <a:pt x="848702" y="895608"/>
                    <a:pt x="955934" y="853208"/>
                  </a:cubicBezTo>
                  <a:lnTo>
                    <a:pt x="960991" y="851209"/>
                  </a:lnTo>
                  <a:cubicBezTo>
                    <a:pt x="1004902" y="833910"/>
                    <a:pt x="1015333" y="829801"/>
                    <a:pt x="1032493" y="783641"/>
                  </a:cubicBezTo>
                  <a:cubicBezTo>
                    <a:pt x="1045088" y="749775"/>
                    <a:pt x="1053968" y="681694"/>
                    <a:pt x="1038666" y="656232"/>
                  </a:cubicBezTo>
                  <a:cubicBezTo>
                    <a:pt x="1022280" y="628967"/>
                    <a:pt x="984050" y="618684"/>
                    <a:pt x="943568" y="607800"/>
                  </a:cubicBezTo>
                  <a:cubicBezTo>
                    <a:pt x="893739" y="594392"/>
                    <a:pt x="837254" y="579201"/>
                    <a:pt x="818226" y="525437"/>
                  </a:cubicBezTo>
                  <a:cubicBezTo>
                    <a:pt x="799471" y="472435"/>
                    <a:pt x="815157" y="394760"/>
                    <a:pt x="864856" y="294562"/>
                  </a:cubicBezTo>
                  <a:cubicBezTo>
                    <a:pt x="900541" y="224371"/>
                    <a:pt x="942574" y="157596"/>
                    <a:pt x="990429" y="95073"/>
                  </a:cubicBezTo>
                  <a:cubicBezTo>
                    <a:pt x="1036284" y="35679"/>
                    <a:pt x="1087754" y="3791"/>
                    <a:pt x="1143385" y="305"/>
                  </a:cubicBezTo>
                  <a:cubicBezTo>
                    <a:pt x="1200491" y="-3169"/>
                    <a:pt x="1256985" y="23036"/>
                    <a:pt x="1312005" y="78386"/>
                  </a:cubicBezTo>
                  <a:cubicBezTo>
                    <a:pt x="1334019" y="103583"/>
                    <a:pt x="1353576" y="130826"/>
                    <a:pt x="1370411" y="159744"/>
                  </a:cubicBezTo>
                  <a:cubicBezTo>
                    <a:pt x="1415162" y="230108"/>
                    <a:pt x="1470980" y="317762"/>
                    <a:pt x="1532859" y="304397"/>
                  </a:cubicBezTo>
                  <a:cubicBezTo>
                    <a:pt x="1555404" y="299567"/>
                    <a:pt x="1579009" y="278312"/>
                    <a:pt x="1604001" y="255822"/>
                  </a:cubicBezTo>
                  <a:cubicBezTo>
                    <a:pt x="1632751" y="229945"/>
                    <a:pt x="1662484" y="203182"/>
                    <a:pt x="1698486" y="193173"/>
                  </a:cubicBezTo>
                  <a:cubicBezTo>
                    <a:pt x="1757919" y="176649"/>
                    <a:pt x="1801600" y="174573"/>
                    <a:pt x="1849017" y="212886"/>
                  </a:cubicBezTo>
                  <a:cubicBezTo>
                    <a:pt x="1956468" y="299643"/>
                    <a:pt x="1880105" y="427259"/>
                    <a:pt x="1829574" y="511700"/>
                  </a:cubicBezTo>
                  <a:cubicBezTo>
                    <a:pt x="1825488" y="518530"/>
                    <a:pt x="1821502" y="525174"/>
                    <a:pt x="1817734" y="531610"/>
                  </a:cubicBezTo>
                  <a:cubicBezTo>
                    <a:pt x="1792402" y="582320"/>
                    <a:pt x="1762094" y="630384"/>
                    <a:pt x="1727258" y="675094"/>
                  </a:cubicBezTo>
                  <a:cubicBezTo>
                    <a:pt x="1668590" y="755545"/>
                    <a:pt x="1613166" y="831527"/>
                    <a:pt x="1604078" y="951593"/>
                  </a:cubicBezTo>
                  <a:cubicBezTo>
                    <a:pt x="1601576" y="984584"/>
                    <a:pt x="1599905" y="1017225"/>
                    <a:pt x="1598288" y="1048807"/>
                  </a:cubicBezTo>
                  <a:cubicBezTo>
                    <a:pt x="1591440" y="1182554"/>
                    <a:pt x="1584973" y="1308881"/>
                    <a:pt x="1518265" y="1440617"/>
                  </a:cubicBezTo>
                  <a:cubicBezTo>
                    <a:pt x="1471695" y="1531885"/>
                    <a:pt x="1414362" y="1617243"/>
                    <a:pt x="1347494" y="1694866"/>
                  </a:cubicBezTo>
                  <a:cubicBezTo>
                    <a:pt x="1258449" y="1795010"/>
                    <a:pt x="1173118" y="1845737"/>
                    <a:pt x="1093751" y="1845737"/>
                  </a:cubicBezTo>
                  <a:close/>
                  <a:moveTo>
                    <a:pt x="584526" y="1568813"/>
                  </a:moveTo>
                  <a:cubicBezTo>
                    <a:pt x="605641" y="1568813"/>
                    <a:pt x="626920" y="1569347"/>
                    <a:pt x="648296" y="1570746"/>
                  </a:cubicBezTo>
                  <a:cubicBezTo>
                    <a:pt x="725196" y="1574976"/>
                    <a:pt x="799084" y="1602072"/>
                    <a:pt x="860499" y="1648564"/>
                  </a:cubicBezTo>
                  <a:cubicBezTo>
                    <a:pt x="884284" y="1667217"/>
                    <a:pt x="906738" y="1687509"/>
                    <a:pt x="927698" y="1709291"/>
                  </a:cubicBezTo>
                  <a:cubicBezTo>
                    <a:pt x="977889" y="1758828"/>
                    <a:pt x="1029796" y="1810058"/>
                    <a:pt x="1088529" y="1812078"/>
                  </a:cubicBezTo>
                  <a:cubicBezTo>
                    <a:pt x="1090255" y="1812133"/>
                    <a:pt x="1091992" y="1812167"/>
                    <a:pt x="1093728" y="1812167"/>
                  </a:cubicBezTo>
                  <a:cubicBezTo>
                    <a:pt x="1250518" y="1812177"/>
                    <a:pt x="1415152" y="1570026"/>
                    <a:pt x="1488336" y="1425449"/>
                  </a:cubicBezTo>
                  <a:cubicBezTo>
                    <a:pt x="1551821" y="1300051"/>
                    <a:pt x="1558113" y="1177177"/>
                    <a:pt x="1564776" y="1047081"/>
                  </a:cubicBezTo>
                  <a:cubicBezTo>
                    <a:pt x="1566403" y="1015313"/>
                    <a:pt x="1568086" y="982453"/>
                    <a:pt x="1570610" y="949057"/>
                  </a:cubicBezTo>
                  <a:cubicBezTo>
                    <a:pt x="1580429" y="819452"/>
                    <a:pt x="1641292" y="736006"/>
                    <a:pt x="1700157" y="655303"/>
                  </a:cubicBezTo>
                  <a:cubicBezTo>
                    <a:pt x="1733824" y="612140"/>
                    <a:pt x="1763122" y="565738"/>
                    <a:pt x="1787619" y="516781"/>
                  </a:cubicBezTo>
                  <a:lnTo>
                    <a:pt x="1788372" y="515327"/>
                  </a:lnTo>
                  <a:cubicBezTo>
                    <a:pt x="1792316" y="508596"/>
                    <a:pt x="1796488" y="501624"/>
                    <a:pt x="1800780" y="494455"/>
                  </a:cubicBezTo>
                  <a:cubicBezTo>
                    <a:pt x="1862015" y="392137"/>
                    <a:pt x="1906320" y="302287"/>
                    <a:pt x="1827937" y="239004"/>
                  </a:cubicBezTo>
                  <a:cubicBezTo>
                    <a:pt x="1791115" y="209280"/>
                    <a:pt x="1759764" y="210985"/>
                    <a:pt x="1707465" y="225519"/>
                  </a:cubicBezTo>
                  <a:cubicBezTo>
                    <a:pt x="1679065" y="233409"/>
                    <a:pt x="1652314" y="257494"/>
                    <a:pt x="1626448" y="280782"/>
                  </a:cubicBezTo>
                  <a:cubicBezTo>
                    <a:pt x="1598026" y="306353"/>
                    <a:pt x="1571188" y="330515"/>
                    <a:pt x="1539894" y="337224"/>
                  </a:cubicBezTo>
                  <a:cubicBezTo>
                    <a:pt x="1455043" y="355376"/>
                    <a:pt x="1392443" y="256904"/>
                    <a:pt x="1342098" y="177764"/>
                  </a:cubicBezTo>
                  <a:cubicBezTo>
                    <a:pt x="1326471" y="150944"/>
                    <a:pt x="1308436" y="125603"/>
                    <a:pt x="1288214" y="102056"/>
                  </a:cubicBezTo>
                  <a:cubicBezTo>
                    <a:pt x="1240295" y="53841"/>
                    <a:pt x="1192397" y="30881"/>
                    <a:pt x="1145483" y="33811"/>
                  </a:cubicBezTo>
                  <a:cubicBezTo>
                    <a:pt x="1099911" y="36662"/>
                    <a:pt x="1056677" y="64179"/>
                    <a:pt x="1016994" y="115596"/>
                  </a:cubicBezTo>
                  <a:cubicBezTo>
                    <a:pt x="943896" y="210286"/>
                    <a:pt x="814894" y="415457"/>
                    <a:pt x="849860" y="514224"/>
                  </a:cubicBezTo>
                  <a:cubicBezTo>
                    <a:pt x="863000" y="551368"/>
                    <a:pt x="906366" y="563028"/>
                    <a:pt x="952275" y="575376"/>
                  </a:cubicBezTo>
                  <a:cubicBezTo>
                    <a:pt x="997409" y="587506"/>
                    <a:pt x="1044072" y="600063"/>
                    <a:pt x="1067426" y="638933"/>
                  </a:cubicBezTo>
                  <a:cubicBezTo>
                    <a:pt x="1091293" y="678656"/>
                    <a:pt x="1076940" y="760397"/>
                    <a:pt x="1063952" y="795345"/>
                  </a:cubicBezTo>
                  <a:cubicBezTo>
                    <a:pt x="1041571" y="855547"/>
                    <a:pt x="1020173" y="863972"/>
                    <a:pt x="973280" y="882451"/>
                  </a:cubicBezTo>
                  <a:lnTo>
                    <a:pt x="968265" y="884429"/>
                  </a:lnTo>
                  <a:cubicBezTo>
                    <a:pt x="870592" y="923060"/>
                    <a:pt x="854000" y="960793"/>
                    <a:pt x="820411" y="1064226"/>
                  </a:cubicBezTo>
                  <a:cubicBezTo>
                    <a:pt x="805825" y="1110075"/>
                    <a:pt x="771392" y="1146924"/>
                    <a:pt x="726647" y="1164567"/>
                  </a:cubicBezTo>
                  <a:cubicBezTo>
                    <a:pt x="665216" y="1190171"/>
                    <a:pt x="585619" y="1185177"/>
                    <a:pt x="518912" y="1151551"/>
                  </a:cubicBezTo>
                  <a:cubicBezTo>
                    <a:pt x="471778" y="1127761"/>
                    <a:pt x="443913" y="1081569"/>
                    <a:pt x="416967" y="1036884"/>
                  </a:cubicBezTo>
                  <a:cubicBezTo>
                    <a:pt x="394301" y="999314"/>
                    <a:pt x="370872" y="960465"/>
                    <a:pt x="336277" y="935496"/>
                  </a:cubicBezTo>
                  <a:cubicBezTo>
                    <a:pt x="262153" y="881971"/>
                    <a:pt x="214386" y="886626"/>
                    <a:pt x="139761" y="954565"/>
                  </a:cubicBezTo>
                  <a:cubicBezTo>
                    <a:pt x="56766" y="1030110"/>
                    <a:pt x="-20635" y="1167342"/>
                    <a:pt x="81944" y="1392118"/>
                  </a:cubicBezTo>
                  <a:cubicBezTo>
                    <a:pt x="169558" y="1584100"/>
                    <a:pt x="316344" y="1578233"/>
                    <a:pt x="486306" y="1571413"/>
                  </a:cubicBezTo>
                  <a:cubicBezTo>
                    <a:pt x="518464" y="1570124"/>
                    <a:pt x="551299" y="1568813"/>
                    <a:pt x="584526" y="1568813"/>
                  </a:cubicBezTo>
                  <a:close/>
                </a:path>
              </a:pathLst>
            </a:custGeom>
            <a:solidFill>
              <a:schemeClr val="dk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18" name="Google Shape;418;p22"/>
            <p:cNvSpPr/>
            <p:nvPr/>
          </p:nvSpPr>
          <p:spPr>
            <a:xfrm rot="4634833">
              <a:off x="-1950989" y="-110110"/>
              <a:ext cx="3094168" cy="1401492"/>
            </a:xfrm>
            <a:custGeom>
              <a:avLst/>
              <a:gdLst/>
              <a:ahLst/>
              <a:cxnLst/>
              <a:rect l="l" t="t" r="r" b="b"/>
              <a:pathLst>
                <a:path w="2787843" h="1262743" extrusionOk="0">
                  <a:moveTo>
                    <a:pt x="853688" y="1262743"/>
                  </a:moveTo>
                  <a:cubicBezTo>
                    <a:pt x="805713" y="1262749"/>
                    <a:pt x="763571" y="1255094"/>
                    <a:pt x="734812" y="1235593"/>
                  </a:cubicBezTo>
                  <a:cubicBezTo>
                    <a:pt x="704631" y="1215130"/>
                    <a:pt x="691081" y="1182904"/>
                    <a:pt x="695614" y="1142394"/>
                  </a:cubicBezTo>
                  <a:cubicBezTo>
                    <a:pt x="712074" y="995380"/>
                    <a:pt x="870979" y="933950"/>
                    <a:pt x="1024650" y="874545"/>
                  </a:cubicBezTo>
                  <a:cubicBezTo>
                    <a:pt x="1154373" y="824397"/>
                    <a:pt x="1288509" y="772538"/>
                    <a:pt x="1335194" y="671449"/>
                  </a:cubicBezTo>
                  <a:cubicBezTo>
                    <a:pt x="1371169" y="593550"/>
                    <a:pt x="1355369" y="481539"/>
                    <a:pt x="1274505" y="438947"/>
                  </a:cubicBezTo>
                  <a:cubicBezTo>
                    <a:pt x="1164378" y="380953"/>
                    <a:pt x="978811" y="463229"/>
                    <a:pt x="888079" y="537107"/>
                  </a:cubicBezTo>
                  <a:cubicBezTo>
                    <a:pt x="801344" y="607734"/>
                    <a:pt x="764516" y="697261"/>
                    <a:pt x="725527" y="792045"/>
                  </a:cubicBezTo>
                  <a:cubicBezTo>
                    <a:pt x="696630" y="862289"/>
                    <a:pt x="666750" y="934922"/>
                    <a:pt x="614903" y="999490"/>
                  </a:cubicBezTo>
                  <a:cubicBezTo>
                    <a:pt x="520703" y="1116806"/>
                    <a:pt x="352645" y="1137307"/>
                    <a:pt x="153839" y="1055746"/>
                  </a:cubicBezTo>
                  <a:cubicBezTo>
                    <a:pt x="37054" y="1007833"/>
                    <a:pt x="6235" y="932648"/>
                    <a:pt x="943" y="878014"/>
                  </a:cubicBezTo>
                  <a:cubicBezTo>
                    <a:pt x="-12122" y="743082"/>
                    <a:pt x="113456" y="582425"/>
                    <a:pt x="239187" y="498488"/>
                  </a:cubicBezTo>
                  <a:cubicBezTo>
                    <a:pt x="256095" y="474047"/>
                    <a:pt x="270416" y="448482"/>
                    <a:pt x="285544" y="421462"/>
                  </a:cubicBezTo>
                  <a:cubicBezTo>
                    <a:pt x="333704" y="335464"/>
                    <a:pt x="383502" y="246545"/>
                    <a:pt x="522980" y="179726"/>
                  </a:cubicBezTo>
                  <a:cubicBezTo>
                    <a:pt x="745899" y="72927"/>
                    <a:pt x="1022837" y="55415"/>
                    <a:pt x="1267171" y="39963"/>
                  </a:cubicBezTo>
                  <a:cubicBezTo>
                    <a:pt x="1299197" y="37936"/>
                    <a:pt x="1330802" y="35937"/>
                    <a:pt x="1361814" y="33772"/>
                  </a:cubicBezTo>
                  <a:cubicBezTo>
                    <a:pt x="1396669" y="31346"/>
                    <a:pt x="1431736" y="28835"/>
                    <a:pt x="1467014" y="26238"/>
                  </a:cubicBezTo>
                  <a:cubicBezTo>
                    <a:pt x="1704237" y="9004"/>
                    <a:pt x="1949503" y="-8830"/>
                    <a:pt x="2185120" y="4857"/>
                  </a:cubicBezTo>
                  <a:lnTo>
                    <a:pt x="2190194" y="5152"/>
                  </a:lnTo>
                  <a:cubicBezTo>
                    <a:pt x="2347618" y="14282"/>
                    <a:pt x="2543540" y="25642"/>
                    <a:pt x="2672170" y="137265"/>
                  </a:cubicBezTo>
                  <a:cubicBezTo>
                    <a:pt x="2885117" y="322062"/>
                    <a:pt x="2759576" y="513984"/>
                    <a:pt x="2648817" y="683306"/>
                  </a:cubicBezTo>
                  <a:cubicBezTo>
                    <a:pt x="2635053" y="704348"/>
                    <a:pt x="2620821" y="726111"/>
                    <a:pt x="2607637" y="747229"/>
                  </a:cubicBezTo>
                  <a:cubicBezTo>
                    <a:pt x="2592634" y="771266"/>
                    <a:pt x="2578286" y="796011"/>
                    <a:pt x="2564408" y="819944"/>
                  </a:cubicBezTo>
                  <a:cubicBezTo>
                    <a:pt x="2488023" y="951702"/>
                    <a:pt x="2415368" y="1076968"/>
                    <a:pt x="2243853" y="1076985"/>
                  </a:cubicBezTo>
                  <a:cubicBezTo>
                    <a:pt x="2220253" y="1076865"/>
                    <a:pt x="2196705" y="1074752"/>
                    <a:pt x="2173460" y="1070668"/>
                  </a:cubicBezTo>
                  <a:cubicBezTo>
                    <a:pt x="2087762" y="1056079"/>
                    <a:pt x="2066560" y="1044868"/>
                    <a:pt x="2055087" y="968055"/>
                  </a:cubicBezTo>
                  <a:cubicBezTo>
                    <a:pt x="2044895" y="899870"/>
                    <a:pt x="2082444" y="840422"/>
                    <a:pt x="2118757" y="782930"/>
                  </a:cubicBezTo>
                  <a:cubicBezTo>
                    <a:pt x="2156540" y="723106"/>
                    <a:pt x="2192231" y="666602"/>
                    <a:pt x="2181171" y="599833"/>
                  </a:cubicBezTo>
                  <a:cubicBezTo>
                    <a:pt x="2176153" y="569520"/>
                    <a:pt x="2165650" y="549439"/>
                    <a:pt x="2149069" y="538434"/>
                  </a:cubicBezTo>
                  <a:cubicBezTo>
                    <a:pt x="2117157" y="517278"/>
                    <a:pt x="2060602" y="528518"/>
                    <a:pt x="1995446" y="544166"/>
                  </a:cubicBezTo>
                  <a:cubicBezTo>
                    <a:pt x="1819234" y="586495"/>
                    <a:pt x="1662718" y="690065"/>
                    <a:pt x="1542826" y="843690"/>
                  </a:cubicBezTo>
                  <a:cubicBezTo>
                    <a:pt x="1525731" y="865600"/>
                    <a:pt x="1509188" y="887954"/>
                    <a:pt x="1491673" y="911623"/>
                  </a:cubicBezTo>
                  <a:cubicBezTo>
                    <a:pt x="1418744" y="1010172"/>
                    <a:pt x="1343332" y="1112074"/>
                    <a:pt x="1233560" y="1170807"/>
                  </a:cubicBezTo>
                  <a:cubicBezTo>
                    <a:pt x="1184553" y="1197028"/>
                    <a:pt x="994202" y="1262738"/>
                    <a:pt x="853688" y="1262743"/>
                  </a:cubicBezTo>
                  <a:close/>
                  <a:moveTo>
                    <a:pt x="1185985" y="385886"/>
                  </a:moveTo>
                  <a:cubicBezTo>
                    <a:pt x="1222085" y="385077"/>
                    <a:pt x="1257836" y="393095"/>
                    <a:pt x="1290136" y="409245"/>
                  </a:cubicBezTo>
                  <a:cubicBezTo>
                    <a:pt x="1368706" y="450628"/>
                    <a:pt x="1419924" y="568023"/>
                    <a:pt x="1365659" y="685525"/>
                  </a:cubicBezTo>
                  <a:cubicBezTo>
                    <a:pt x="1313276" y="798957"/>
                    <a:pt x="1172697" y="853301"/>
                    <a:pt x="1036748" y="905859"/>
                  </a:cubicBezTo>
                  <a:cubicBezTo>
                    <a:pt x="885764" y="964225"/>
                    <a:pt x="743156" y="1019351"/>
                    <a:pt x="728962" y="1146131"/>
                  </a:cubicBezTo>
                  <a:cubicBezTo>
                    <a:pt x="725772" y="1174626"/>
                    <a:pt x="733609" y="1194225"/>
                    <a:pt x="753638" y="1207803"/>
                  </a:cubicBezTo>
                  <a:cubicBezTo>
                    <a:pt x="847182" y="1271223"/>
                    <a:pt x="1152675" y="1176014"/>
                    <a:pt x="1217733" y="1141203"/>
                  </a:cubicBezTo>
                  <a:cubicBezTo>
                    <a:pt x="1320852" y="1086033"/>
                    <a:pt x="1393982" y="987212"/>
                    <a:pt x="1464703" y="891647"/>
                  </a:cubicBezTo>
                  <a:cubicBezTo>
                    <a:pt x="1481568" y="868852"/>
                    <a:pt x="1499013" y="845280"/>
                    <a:pt x="1516381" y="823030"/>
                  </a:cubicBezTo>
                  <a:cubicBezTo>
                    <a:pt x="1640992" y="663357"/>
                    <a:pt x="1803942" y="555640"/>
                    <a:pt x="1987614" y="511524"/>
                  </a:cubicBezTo>
                  <a:cubicBezTo>
                    <a:pt x="2063158" y="493384"/>
                    <a:pt x="2124398" y="481795"/>
                    <a:pt x="2167610" y="510459"/>
                  </a:cubicBezTo>
                  <a:cubicBezTo>
                    <a:pt x="2192385" y="526890"/>
                    <a:pt x="2207649" y="554329"/>
                    <a:pt x="2214280" y="594347"/>
                  </a:cubicBezTo>
                  <a:cubicBezTo>
                    <a:pt x="2227426" y="673728"/>
                    <a:pt x="2186601" y="738361"/>
                    <a:pt x="2147125" y="800864"/>
                  </a:cubicBezTo>
                  <a:cubicBezTo>
                    <a:pt x="2112569" y="855574"/>
                    <a:pt x="2079926" y="907252"/>
                    <a:pt x="2088271" y="963093"/>
                  </a:cubicBezTo>
                  <a:cubicBezTo>
                    <a:pt x="2096812" y="1020257"/>
                    <a:pt x="2101903" y="1024438"/>
                    <a:pt x="2179085" y="1037579"/>
                  </a:cubicBezTo>
                  <a:cubicBezTo>
                    <a:pt x="2379645" y="1071680"/>
                    <a:pt x="2451819" y="947232"/>
                    <a:pt x="2535380" y="803104"/>
                  </a:cubicBezTo>
                  <a:cubicBezTo>
                    <a:pt x="2549394" y="778936"/>
                    <a:pt x="2563879" y="753944"/>
                    <a:pt x="2579171" y="729450"/>
                  </a:cubicBezTo>
                  <a:cubicBezTo>
                    <a:pt x="2592546" y="708025"/>
                    <a:pt x="2606878" y="686115"/>
                    <a:pt x="2620739" y="664925"/>
                  </a:cubicBezTo>
                  <a:cubicBezTo>
                    <a:pt x="2734006" y="491767"/>
                    <a:pt x="2840993" y="328214"/>
                    <a:pt x="2650183" y="162629"/>
                  </a:cubicBezTo>
                  <a:cubicBezTo>
                    <a:pt x="2530186" y="58497"/>
                    <a:pt x="2348524" y="47963"/>
                    <a:pt x="2188249" y="38668"/>
                  </a:cubicBezTo>
                  <a:lnTo>
                    <a:pt x="2183176" y="38373"/>
                  </a:lnTo>
                  <a:cubicBezTo>
                    <a:pt x="1949782" y="24834"/>
                    <a:pt x="1705597" y="42575"/>
                    <a:pt x="1469445" y="59716"/>
                  </a:cubicBezTo>
                  <a:cubicBezTo>
                    <a:pt x="1434152" y="62283"/>
                    <a:pt x="1399054" y="64800"/>
                    <a:pt x="1364151" y="67267"/>
                  </a:cubicBezTo>
                  <a:cubicBezTo>
                    <a:pt x="1333070" y="69430"/>
                    <a:pt x="1301392" y="71435"/>
                    <a:pt x="1269283" y="73463"/>
                  </a:cubicBezTo>
                  <a:cubicBezTo>
                    <a:pt x="1027999" y="88723"/>
                    <a:pt x="754517" y="106016"/>
                    <a:pt x="537475" y="210007"/>
                  </a:cubicBezTo>
                  <a:cubicBezTo>
                    <a:pt x="407583" y="272231"/>
                    <a:pt x="360428" y="356436"/>
                    <a:pt x="314818" y="437870"/>
                  </a:cubicBezTo>
                  <a:cubicBezTo>
                    <a:pt x="299570" y="466194"/>
                    <a:pt x="282892" y="493725"/>
                    <a:pt x="264850" y="520355"/>
                  </a:cubicBezTo>
                  <a:lnTo>
                    <a:pt x="263016" y="522972"/>
                  </a:lnTo>
                  <a:lnTo>
                    <a:pt x="260350" y="524731"/>
                  </a:lnTo>
                  <a:cubicBezTo>
                    <a:pt x="141911" y="602757"/>
                    <a:pt x="22451" y="751961"/>
                    <a:pt x="34345" y="874780"/>
                  </a:cubicBezTo>
                  <a:cubicBezTo>
                    <a:pt x="40747" y="940883"/>
                    <a:pt x="85230" y="991315"/>
                    <a:pt x="166575" y="1024689"/>
                  </a:cubicBezTo>
                  <a:cubicBezTo>
                    <a:pt x="253655" y="1060397"/>
                    <a:pt x="469123" y="1127423"/>
                    <a:pt x="588742" y="978464"/>
                  </a:cubicBezTo>
                  <a:cubicBezTo>
                    <a:pt x="637557" y="917672"/>
                    <a:pt x="666504" y="847313"/>
                    <a:pt x="694495" y="779270"/>
                  </a:cubicBezTo>
                  <a:cubicBezTo>
                    <a:pt x="733364" y="684782"/>
                    <a:pt x="773555" y="587080"/>
                    <a:pt x="866899" y="511071"/>
                  </a:cubicBezTo>
                  <a:cubicBezTo>
                    <a:pt x="942427" y="449563"/>
                    <a:pt x="1072827" y="385886"/>
                    <a:pt x="1185985" y="385886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419" name="Google Shape;419;p22"/>
          <p:cNvGrpSpPr/>
          <p:nvPr/>
        </p:nvGrpSpPr>
        <p:grpSpPr>
          <a:xfrm>
            <a:off x="-1120954" y="-1197134"/>
            <a:ext cx="13857223" cy="9789553"/>
            <a:chOff x="-840716" y="-897851"/>
            <a:chExt cx="10392917" cy="7342165"/>
          </a:xfrm>
        </p:grpSpPr>
        <p:sp>
          <p:nvSpPr>
            <p:cNvPr id="420" name="Google Shape;420;p22"/>
            <p:cNvSpPr/>
            <p:nvPr/>
          </p:nvSpPr>
          <p:spPr>
            <a:xfrm rot="10800000">
              <a:off x="-840716" y="3448554"/>
              <a:ext cx="1851180" cy="1928261"/>
            </a:xfrm>
            <a:custGeom>
              <a:avLst/>
              <a:gdLst/>
              <a:ahLst/>
              <a:cxnLst/>
              <a:rect l="l" t="t" r="r" b="b"/>
              <a:pathLst>
                <a:path w="1851180" h="1928261" extrusionOk="0">
                  <a:moveTo>
                    <a:pt x="222219" y="504927"/>
                  </a:moveTo>
                  <a:cubicBezTo>
                    <a:pt x="306870" y="574402"/>
                    <a:pt x="421317" y="585438"/>
                    <a:pt x="513461" y="619503"/>
                  </a:cubicBezTo>
                  <a:cubicBezTo>
                    <a:pt x="710295" y="692270"/>
                    <a:pt x="698441" y="786656"/>
                    <a:pt x="727559" y="1149243"/>
                  </a:cubicBezTo>
                  <a:cubicBezTo>
                    <a:pt x="768608" y="1660375"/>
                    <a:pt x="830482" y="2049043"/>
                    <a:pt x="1186048" y="1893619"/>
                  </a:cubicBezTo>
                  <a:cubicBezTo>
                    <a:pt x="1439650" y="1782763"/>
                    <a:pt x="1488895" y="1789872"/>
                    <a:pt x="1559382" y="1349460"/>
                  </a:cubicBezTo>
                  <a:cubicBezTo>
                    <a:pt x="1609598" y="1035713"/>
                    <a:pt x="1602978" y="742907"/>
                    <a:pt x="1689368" y="438788"/>
                  </a:cubicBezTo>
                  <a:cubicBezTo>
                    <a:pt x="1732120" y="288636"/>
                    <a:pt x="1786215" y="141951"/>
                    <a:pt x="1851185" y="0"/>
                  </a:cubicBezTo>
                  <a:lnTo>
                    <a:pt x="5" y="0"/>
                  </a:lnTo>
                  <a:cubicBezTo>
                    <a:pt x="41452" y="214402"/>
                    <a:pt x="100046" y="404660"/>
                    <a:pt x="222219" y="504927"/>
                  </a:cubicBezTo>
                  <a:close/>
                </a:path>
              </a:pathLst>
            </a:custGeom>
            <a:solidFill>
              <a:schemeClr val="l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1" name="Google Shape;421;p22"/>
            <p:cNvSpPr/>
            <p:nvPr/>
          </p:nvSpPr>
          <p:spPr>
            <a:xfrm rot="-5076197" flipH="1">
              <a:off x="7706325" y="-746686"/>
              <a:ext cx="1839031" cy="1687237"/>
            </a:xfrm>
            <a:custGeom>
              <a:avLst/>
              <a:gdLst/>
              <a:ahLst/>
              <a:cxnLst/>
              <a:rect l="l" t="t" r="r" b="b"/>
              <a:pathLst>
                <a:path w="1687446" h="1548164" extrusionOk="0">
                  <a:moveTo>
                    <a:pt x="1247031" y="634130"/>
                  </a:moveTo>
                  <a:cubicBezTo>
                    <a:pt x="1227364" y="527137"/>
                    <a:pt x="1277374" y="434846"/>
                    <a:pt x="1240738" y="325562"/>
                  </a:cubicBezTo>
                  <a:cubicBezTo>
                    <a:pt x="1143406" y="35220"/>
                    <a:pt x="767133" y="-94123"/>
                    <a:pt x="573695" y="76053"/>
                  </a:cubicBezTo>
                  <a:cubicBezTo>
                    <a:pt x="381743" y="244923"/>
                    <a:pt x="500205" y="465024"/>
                    <a:pt x="493422" y="693793"/>
                  </a:cubicBezTo>
                  <a:cubicBezTo>
                    <a:pt x="492299" y="750897"/>
                    <a:pt x="480941" y="807334"/>
                    <a:pt x="459888" y="860423"/>
                  </a:cubicBezTo>
                  <a:cubicBezTo>
                    <a:pt x="396447" y="1014854"/>
                    <a:pt x="162628" y="925558"/>
                    <a:pt x="215282" y="767120"/>
                  </a:cubicBezTo>
                  <a:cubicBezTo>
                    <a:pt x="276407" y="583189"/>
                    <a:pt x="338615" y="348217"/>
                    <a:pt x="232071" y="263066"/>
                  </a:cubicBezTo>
                  <a:cubicBezTo>
                    <a:pt x="232783" y="260311"/>
                    <a:pt x="233361" y="257482"/>
                    <a:pt x="233826" y="254593"/>
                  </a:cubicBezTo>
                  <a:cubicBezTo>
                    <a:pt x="242345" y="201613"/>
                    <a:pt x="213965" y="150229"/>
                    <a:pt x="174010" y="139542"/>
                  </a:cubicBezTo>
                  <a:cubicBezTo>
                    <a:pt x="115672" y="123939"/>
                    <a:pt x="57382" y="102718"/>
                    <a:pt x="5" y="81727"/>
                  </a:cubicBezTo>
                  <a:lnTo>
                    <a:pt x="5" y="1548165"/>
                  </a:lnTo>
                  <a:lnTo>
                    <a:pt x="1503631" y="1548165"/>
                  </a:lnTo>
                  <a:cubicBezTo>
                    <a:pt x="1506525" y="1521527"/>
                    <a:pt x="1510061" y="1496065"/>
                    <a:pt x="1514382" y="1472535"/>
                  </a:cubicBezTo>
                  <a:cubicBezTo>
                    <a:pt x="1540851" y="1328414"/>
                    <a:pt x="1674582" y="1240152"/>
                    <a:pt x="1686520" y="1106857"/>
                  </a:cubicBezTo>
                  <a:cubicBezTo>
                    <a:pt x="1709728" y="847741"/>
                    <a:pt x="1291541" y="876266"/>
                    <a:pt x="1247031" y="634130"/>
                  </a:cubicBezTo>
                  <a:close/>
                </a:path>
              </a:pathLst>
            </a:cu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422" name="Google Shape;422;p22"/>
            <p:cNvSpPr/>
            <p:nvPr/>
          </p:nvSpPr>
          <p:spPr>
            <a:xfrm rot="10800000">
              <a:off x="3544476" y="4736676"/>
              <a:ext cx="1702438" cy="1707638"/>
            </a:xfrm>
            <a:custGeom>
              <a:avLst/>
              <a:gdLst/>
              <a:ahLst/>
              <a:cxnLst/>
              <a:rect l="l" t="t" r="r" b="b"/>
              <a:pathLst>
                <a:path w="2414805" h="2422182" extrusionOk="0">
                  <a:moveTo>
                    <a:pt x="1352508" y="39350"/>
                  </a:moveTo>
                  <a:cubicBezTo>
                    <a:pt x="1571455" y="-29216"/>
                    <a:pt x="1828014" y="-13083"/>
                    <a:pt x="2010694" y="126738"/>
                  </a:cubicBezTo>
                  <a:cubicBezTo>
                    <a:pt x="2072483" y="173793"/>
                    <a:pt x="2126212" y="235637"/>
                    <a:pt x="2145017" y="310925"/>
                  </a:cubicBezTo>
                  <a:cubicBezTo>
                    <a:pt x="2181285" y="461501"/>
                    <a:pt x="2068453" y="609389"/>
                    <a:pt x="1939502" y="695432"/>
                  </a:cubicBezTo>
                  <a:cubicBezTo>
                    <a:pt x="1810551" y="781476"/>
                    <a:pt x="1657422" y="832565"/>
                    <a:pt x="1543247" y="936086"/>
                  </a:cubicBezTo>
                  <a:cubicBezTo>
                    <a:pt x="1508323" y="967008"/>
                    <a:pt x="1477429" y="1004652"/>
                    <a:pt x="1463996" y="1050363"/>
                  </a:cubicBezTo>
                  <a:cubicBezTo>
                    <a:pt x="1433102" y="1160606"/>
                    <a:pt x="1524442" y="1270849"/>
                    <a:pt x="1627871" y="1317904"/>
                  </a:cubicBezTo>
                  <a:cubicBezTo>
                    <a:pt x="1731301" y="1364960"/>
                    <a:pt x="1849505" y="1373026"/>
                    <a:pt x="1955621" y="1413359"/>
                  </a:cubicBezTo>
                  <a:cubicBezTo>
                    <a:pt x="2130242" y="1479236"/>
                    <a:pt x="2261879" y="1627124"/>
                    <a:pt x="2349189" y="1792489"/>
                  </a:cubicBezTo>
                  <a:cubicBezTo>
                    <a:pt x="2406948" y="1902732"/>
                    <a:pt x="2445902" y="2041209"/>
                    <a:pt x="2381427" y="2147419"/>
                  </a:cubicBezTo>
                  <a:cubicBezTo>
                    <a:pt x="2339787" y="2215985"/>
                    <a:pt x="2261879" y="2254973"/>
                    <a:pt x="2185314" y="2277829"/>
                  </a:cubicBezTo>
                  <a:cubicBezTo>
                    <a:pt x="1819954" y="2386728"/>
                    <a:pt x="1418326" y="2205229"/>
                    <a:pt x="1160425" y="1925588"/>
                  </a:cubicBezTo>
                  <a:cubicBezTo>
                    <a:pt x="1136247" y="1898699"/>
                    <a:pt x="1110725" y="1870466"/>
                    <a:pt x="1077144" y="1855677"/>
                  </a:cubicBezTo>
                  <a:cubicBezTo>
                    <a:pt x="1043563" y="1840889"/>
                    <a:pt x="999236" y="1844922"/>
                    <a:pt x="977745" y="1874499"/>
                  </a:cubicBezTo>
                  <a:cubicBezTo>
                    <a:pt x="968342" y="1889288"/>
                    <a:pt x="964312" y="1906766"/>
                    <a:pt x="961626" y="1922899"/>
                  </a:cubicBezTo>
                  <a:cubicBezTo>
                    <a:pt x="926702" y="2108430"/>
                    <a:pt x="854167" y="2312784"/>
                    <a:pt x="680889" y="2390761"/>
                  </a:cubicBezTo>
                  <a:cubicBezTo>
                    <a:pt x="561341" y="2444538"/>
                    <a:pt x="421645" y="2423027"/>
                    <a:pt x="300753" y="2373284"/>
                  </a:cubicBezTo>
                  <a:cubicBezTo>
                    <a:pt x="182548" y="2323540"/>
                    <a:pt x="69717" y="2241529"/>
                    <a:pt x="24047" y="2121875"/>
                  </a:cubicBezTo>
                  <a:cubicBezTo>
                    <a:pt x="-32369" y="1975332"/>
                    <a:pt x="21360" y="1812655"/>
                    <a:pt x="73746" y="1666112"/>
                  </a:cubicBezTo>
                  <a:cubicBezTo>
                    <a:pt x="178519" y="1375715"/>
                    <a:pt x="283291" y="1085318"/>
                    <a:pt x="389407" y="793576"/>
                  </a:cubicBezTo>
                  <a:cubicBezTo>
                    <a:pt x="427018" y="690055"/>
                    <a:pt x="475374" y="575778"/>
                    <a:pt x="565371" y="507212"/>
                  </a:cubicBezTo>
                  <a:cubicBezTo>
                    <a:pt x="625817" y="461501"/>
                    <a:pt x="702381" y="446713"/>
                    <a:pt x="765513" y="406380"/>
                  </a:cubicBezTo>
                  <a:cubicBezTo>
                    <a:pt x="965655" y="277314"/>
                    <a:pt x="1116098" y="111949"/>
                    <a:pt x="1352508" y="39350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 sz="2400">
                <a:solidFill>
                  <a:srgbClr val="000000"/>
                </a:solidFill>
                <a:latin typeface="Calibri"/>
                <a:ea typeface="Calibri"/>
                <a:cs typeface="Calibri"/>
                <a:sym typeface="Calibri"/>
              </a:endParaRPr>
            </a:p>
          </p:txBody>
        </p:sp>
      </p:grpSp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7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719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g object 16"/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6858000"/>
                </a:lnTo>
                <a:lnTo>
                  <a:pt x="12192000" y="6858000"/>
                </a:lnTo>
                <a:lnTo>
                  <a:pt x="12192000" y="0"/>
                </a:lnTo>
                <a:close/>
              </a:path>
            </a:pathLst>
          </a:custGeom>
          <a:solidFill>
            <a:srgbClr val="F3F6F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17" name="bg object 17"/>
          <p:cNvSpPr/>
          <p:nvPr/>
        </p:nvSpPr>
        <p:spPr>
          <a:xfrm>
            <a:off x="3" y="5100849"/>
            <a:ext cx="7111365" cy="1757680"/>
          </a:xfrm>
          <a:custGeom>
            <a:avLst/>
            <a:gdLst/>
            <a:ahLst/>
            <a:cxnLst/>
            <a:rect l="l" t="t" r="r" b="b"/>
            <a:pathLst>
              <a:path w="7111365" h="1757679">
                <a:moveTo>
                  <a:pt x="612238" y="72"/>
                </a:moveTo>
                <a:lnTo>
                  <a:pt x="558414" y="0"/>
                </a:lnTo>
                <a:lnTo>
                  <a:pt x="504455" y="346"/>
                </a:lnTo>
                <a:lnTo>
                  <a:pt x="450360" y="1116"/>
                </a:lnTo>
                <a:lnTo>
                  <a:pt x="396127" y="2315"/>
                </a:lnTo>
                <a:lnTo>
                  <a:pt x="341757" y="3949"/>
                </a:lnTo>
                <a:lnTo>
                  <a:pt x="292962" y="5809"/>
                </a:lnTo>
                <a:lnTo>
                  <a:pt x="244267" y="8061"/>
                </a:lnTo>
                <a:lnTo>
                  <a:pt x="195669" y="10711"/>
                </a:lnTo>
                <a:lnTo>
                  <a:pt x="147165" y="13764"/>
                </a:lnTo>
                <a:lnTo>
                  <a:pt x="98753" y="17223"/>
                </a:lnTo>
                <a:lnTo>
                  <a:pt x="50431" y="21096"/>
                </a:lnTo>
                <a:lnTo>
                  <a:pt x="0" y="25666"/>
                </a:lnTo>
                <a:lnTo>
                  <a:pt x="0" y="1757146"/>
                </a:lnTo>
                <a:lnTo>
                  <a:pt x="7110983" y="1757146"/>
                </a:lnTo>
                <a:lnTo>
                  <a:pt x="6700405" y="1636344"/>
                </a:lnTo>
                <a:lnTo>
                  <a:pt x="6607186" y="1607300"/>
                </a:lnTo>
                <a:lnTo>
                  <a:pt x="6467358" y="1562910"/>
                </a:lnTo>
                <a:lnTo>
                  <a:pt x="6327483" y="1517588"/>
                </a:lnTo>
                <a:lnTo>
                  <a:pt x="6187509" y="1471399"/>
                </a:lnTo>
                <a:lnTo>
                  <a:pt x="6000630" y="1408578"/>
                </a:lnTo>
                <a:lnTo>
                  <a:pt x="5766459" y="1328280"/>
                </a:lnTo>
                <a:lnTo>
                  <a:pt x="5484294" y="1229723"/>
                </a:lnTo>
                <a:lnTo>
                  <a:pt x="4285873" y="804446"/>
                </a:lnTo>
                <a:lnTo>
                  <a:pt x="3990553" y="701631"/>
                </a:lnTo>
                <a:lnTo>
                  <a:pt x="3741532" y="616526"/>
                </a:lnTo>
                <a:lnTo>
                  <a:pt x="3543643" y="550199"/>
                </a:lnTo>
                <a:lnTo>
                  <a:pt x="3449272" y="519263"/>
                </a:lnTo>
                <a:lnTo>
                  <a:pt x="3354639" y="488840"/>
                </a:lnTo>
                <a:lnTo>
                  <a:pt x="3259736" y="458969"/>
                </a:lnTo>
                <a:lnTo>
                  <a:pt x="3164554" y="429687"/>
                </a:lnTo>
                <a:lnTo>
                  <a:pt x="3069083" y="401033"/>
                </a:lnTo>
                <a:lnTo>
                  <a:pt x="2973315" y="373045"/>
                </a:lnTo>
                <a:lnTo>
                  <a:pt x="2877241" y="345760"/>
                </a:lnTo>
                <a:lnTo>
                  <a:pt x="2780851" y="319217"/>
                </a:lnTo>
                <a:lnTo>
                  <a:pt x="2684137" y="293454"/>
                </a:lnTo>
                <a:lnTo>
                  <a:pt x="2587089" y="268509"/>
                </a:lnTo>
                <a:lnTo>
                  <a:pt x="2489699" y="244419"/>
                </a:lnTo>
                <a:lnTo>
                  <a:pt x="2391957" y="221224"/>
                </a:lnTo>
                <a:lnTo>
                  <a:pt x="2293855" y="198961"/>
                </a:lnTo>
                <a:lnTo>
                  <a:pt x="2244665" y="188191"/>
                </a:lnTo>
                <a:lnTo>
                  <a:pt x="2195383" y="177668"/>
                </a:lnTo>
                <a:lnTo>
                  <a:pt x="2146005" y="167398"/>
                </a:lnTo>
                <a:lnTo>
                  <a:pt x="2096532" y="157384"/>
                </a:lnTo>
                <a:lnTo>
                  <a:pt x="2046962" y="147632"/>
                </a:lnTo>
                <a:lnTo>
                  <a:pt x="1997294" y="138146"/>
                </a:lnTo>
                <a:lnTo>
                  <a:pt x="1947526" y="128931"/>
                </a:lnTo>
                <a:lnTo>
                  <a:pt x="1897659" y="119992"/>
                </a:lnTo>
                <a:lnTo>
                  <a:pt x="1847690" y="111333"/>
                </a:lnTo>
                <a:lnTo>
                  <a:pt x="1797618" y="102960"/>
                </a:lnTo>
                <a:lnTo>
                  <a:pt x="1747443" y="94877"/>
                </a:lnTo>
                <a:lnTo>
                  <a:pt x="1697163" y="87089"/>
                </a:lnTo>
                <a:lnTo>
                  <a:pt x="1646777" y="79601"/>
                </a:lnTo>
                <a:lnTo>
                  <a:pt x="1596283" y="72417"/>
                </a:lnTo>
                <a:lnTo>
                  <a:pt x="1545682" y="65542"/>
                </a:lnTo>
                <a:lnTo>
                  <a:pt x="1494971" y="58981"/>
                </a:lnTo>
                <a:lnTo>
                  <a:pt x="1444150" y="52739"/>
                </a:lnTo>
                <a:lnTo>
                  <a:pt x="1393217" y="46821"/>
                </a:lnTo>
                <a:lnTo>
                  <a:pt x="1342172" y="41230"/>
                </a:lnTo>
                <a:lnTo>
                  <a:pt x="1291013" y="35972"/>
                </a:lnTo>
                <a:lnTo>
                  <a:pt x="1239738" y="31052"/>
                </a:lnTo>
                <a:lnTo>
                  <a:pt x="1188348" y="26475"/>
                </a:lnTo>
                <a:lnTo>
                  <a:pt x="1136840" y="22245"/>
                </a:lnTo>
                <a:lnTo>
                  <a:pt x="1085214" y="18367"/>
                </a:lnTo>
                <a:lnTo>
                  <a:pt x="1033469" y="14845"/>
                </a:lnTo>
                <a:lnTo>
                  <a:pt x="981602" y="11685"/>
                </a:lnTo>
                <a:lnTo>
                  <a:pt x="929614" y="8891"/>
                </a:lnTo>
                <a:lnTo>
                  <a:pt x="877504" y="6469"/>
                </a:lnTo>
                <a:lnTo>
                  <a:pt x="825269" y="4422"/>
                </a:lnTo>
                <a:lnTo>
                  <a:pt x="772909" y="2755"/>
                </a:lnTo>
                <a:lnTo>
                  <a:pt x="719484" y="1455"/>
                </a:lnTo>
                <a:lnTo>
                  <a:pt x="665927" y="559"/>
                </a:lnTo>
                <a:lnTo>
                  <a:pt x="612238" y="72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18" name="bg object 18"/>
          <p:cNvPicPr/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041899"/>
            <a:ext cx="12192000" cy="1816100"/>
          </a:xfrm>
          <a:prstGeom prst="rect">
            <a:avLst/>
          </a:prstGeom>
        </p:spPr>
      </p:pic>
      <p:sp>
        <p:nvSpPr>
          <p:cNvPr id="19" name="bg object 19"/>
          <p:cNvSpPr/>
          <p:nvPr/>
        </p:nvSpPr>
        <p:spPr>
          <a:xfrm>
            <a:off x="1" y="5020056"/>
            <a:ext cx="12192000" cy="1838325"/>
          </a:xfrm>
          <a:custGeom>
            <a:avLst/>
            <a:gdLst/>
            <a:ahLst/>
            <a:cxnLst/>
            <a:rect l="l" t="t" r="r" b="b"/>
            <a:pathLst>
              <a:path w="12192000" h="1838325">
                <a:moveTo>
                  <a:pt x="682693" y="0"/>
                </a:moveTo>
                <a:lnTo>
                  <a:pt x="631977" y="191"/>
                </a:lnTo>
                <a:lnTo>
                  <a:pt x="584149" y="737"/>
                </a:lnTo>
                <a:lnTo>
                  <a:pt x="536385" y="1641"/>
                </a:lnTo>
                <a:lnTo>
                  <a:pt x="488688" y="2908"/>
                </a:lnTo>
                <a:lnTo>
                  <a:pt x="441056" y="4541"/>
                </a:lnTo>
                <a:lnTo>
                  <a:pt x="393493" y="6547"/>
                </a:lnTo>
                <a:lnTo>
                  <a:pt x="345998" y="8929"/>
                </a:lnTo>
                <a:lnTo>
                  <a:pt x="0" y="38164"/>
                </a:lnTo>
                <a:lnTo>
                  <a:pt x="0" y="105627"/>
                </a:lnTo>
                <a:lnTo>
                  <a:pt x="50435" y="101057"/>
                </a:lnTo>
                <a:lnTo>
                  <a:pt x="98761" y="97184"/>
                </a:lnTo>
                <a:lnTo>
                  <a:pt x="147175" y="93724"/>
                </a:lnTo>
                <a:lnTo>
                  <a:pt x="195680" y="90672"/>
                </a:lnTo>
                <a:lnTo>
                  <a:pt x="244280" y="88022"/>
                </a:lnTo>
                <a:lnTo>
                  <a:pt x="292975" y="85770"/>
                </a:lnTo>
                <a:lnTo>
                  <a:pt x="341769" y="83910"/>
                </a:lnTo>
                <a:lnTo>
                  <a:pt x="394500" y="82318"/>
                </a:lnTo>
                <a:lnTo>
                  <a:pt x="447099" y="81134"/>
                </a:lnTo>
                <a:lnTo>
                  <a:pt x="499569" y="80355"/>
                </a:lnTo>
                <a:lnTo>
                  <a:pt x="551910" y="79975"/>
                </a:lnTo>
                <a:lnTo>
                  <a:pt x="604123" y="79990"/>
                </a:lnTo>
                <a:lnTo>
                  <a:pt x="656210" y="80395"/>
                </a:lnTo>
                <a:lnTo>
                  <a:pt x="708172" y="81187"/>
                </a:lnTo>
                <a:lnTo>
                  <a:pt x="760009" y="82360"/>
                </a:lnTo>
                <a:lnTo>
                  <a:pt x="811723" y="83909"/>
                </a:lnTo>
                <a:lnTo>
                  <a:pt x="863315" y="85830"/>
                </a:lnTo>
                <a:lnTo>
                  <a:pt x="914785" y="88119"/>
                </a:lnTo>
                <a:lnTo>
                  <a:pt x="966136" y="90771"/>
                </a:lnTo>
                <a:lnTo>
                  <a:pt x="1017368" y="93782"/>
                </a:lnTo>
                <a:lnTo>
                  <a:pt x="1068481" y="97146"/>
                </a:lnTo>
                <a:lnTo>
                  <a:pt x="1119478" y="100859"/>
                </a:lnTo>
                <a:lnTo>
                  <a:pt x="1170360" y="104917"/>
                </a:lnTo>
                <a:lnTo>
                  <a:pt x="1221127" y="109315"/>
                </a:lnTo>
                <a:lnTo>
                  <a:pt x="1271780" y="114049"/>
                </a:lnTo>
                <a:lnTo>
                  <a:pt x="1322321" y="119113"/>
                </a:lnTo>
                <a:lnTo>
                  <a:pt x="1372750" y="124504"/>
                </a:lnTo>
                <a:lnTo>
                  <a:pt x="1423070" y="130217"/>
                </a:lnTo>
                <a:lnTo>
                  <a:pt x="1473280" y="136247"/>
                </a:lnTo>
                <a:lnTo>
                  <a:pt x="1523382" y="142589"/>
                </a:lnTo>
                <a:lnTo>
                  <a:pt x="1573377" y="149239"/>
                </a:lnTo>
                <a:lnTo>
                  <a:pt x="1623266" y="156193"/>
                </a:lnTo>
                <a:lnTo>
                  <a:pt x="1673051" y="163446"/>
                </a:lnTo>
                <a:lnTo>
                  <a:pt x="1722731" y="170993"/>
                </a:lnTo>
                <a:lnTo>
                  <a:pt x="1772309" y="178830"/>
                </a:lnTo>
                <a:lnTo>
                  <a:pt x="1821786" y="186951"/>
                </a:lnTo>
                <a:lnTo>
                  <a:pt x="1871162" y="195354"/>
                </a:lnTo>
                <a:lnTo>
                  <a:pt x="1920438" y="204032"/>
                </a:lnTo>
                <a:lnTo>
                  <a:pt x="1969617" y="212982"/>
                </a:lnTo>
                <a:lnTo>
                  <a:pt x="2018698" y="222199"/>
                </a:lnTo>
                <a:lnTo>
                  <a:pt x="2067683" y="231677"/>
                </a:lnTo>
                <a:lnTo>
                  <a:pt x="2116573" y="241414"/>
                </a:lnTo>
                <a:lnTo>
                  <a:pt x="2165369" y="251404"/>
                </a:lnTo>
                <a:lnTo>
                  <a:pt x="2214072" y="261642"/>
                </a:lnTo>
                <a:lnTo>
                  <a:pt x="2262683" y="272124"/>
                </a:lnTo>
                <a:lnTo>
                  <a:pt x="2359634" y="293801"/>
                </a:lnTo>
                <a:lnTo>
                  <a:pt x="2456232" y="316400"/>
                </a:lnTo>
                <a:lnTo>
                  <a:pt x="2552484" y="339883"/>
                </a:lnTo>
                <a:lnTo>
                  <a:pt x="2648399" y="364213"/>
                </a:lnTo>
                <a:lnTo>
                  <a:pt x="2743986" y="389354"/>
                </a:lnTo>
                <a:lnTo>
                  <a:pt x="2839253" y="415270"/>
                </a:lnTo>
                <a:lnTo>
                  <a:pt x="2934210" y="441923"/>
                </a:lnTo>
                <a:lnTo>
                  <a:pt x="3028865" y="469277"/>
                </a:lnTo>
                <a:lnTo>
                  <a:pt x="3123226" y="497296"/>
                </a:lnTo>
                <a:lnTo>
                  <a:pt x="3217303" y="525943"/>
                </a:lnTo>
                <a:lnTo>
                  <a:pt x="3311104" y="555181"/>
                </a:lnTo>
                <a:lnTo>
                  <a:pt x="3404637" y="584973"/>
                </a:lnTo>
                <a:lnTo>
                  <a:pt x="3497912" y="615284"/>
                </a:lnTo>
                <a:lnTo>
                  <a:pt x="3590937" y="646075"/>
                </a:lnTo>
                <a:lnTo>
                  <a:pt x="3791774" y="713748"/>
                </a:lnTo>
                <a:lnTo>
                  <a:pt x="4040254" y="799025"/>
                </a:lnTo>
                <a:lnTo>
                  <a:pt x="4334988" y="901968"/>
                </a:lnTo>
                <a:lnTo>
                  <a:pt x="5625866" y="1359840"/>
                </a:lnTo>
                <a:lnTo>
                  <a:pt x="5907371" y="1457295"/>
                </a:lnTo>
                <a:lnTo>
                  <a:pt x="6094441" y="1520802"/>
                </a:lnTo>
                <a:lnTo>
                  <a:pt x="6281177" y="1582959"/>
                </a:lnTo>
                <a:lnTo>
                  <a:pt x="6421085" y="1628599"/>
                </a:lnTo>
                <a:lnTo>
                  <a:pt x="6560929" y="1673327"/>
                </a:lnTo>
                <a:lnTo>
                  <a:pt x="6700761" y="1717079"/>
                </a:lnTo>
                <a:lnTo>
                  <a:pt x="7111365" y="1837945"/>
                </a:lnTo>
                <a:lnTo>
                  <a:pt x="12192000" y="1837945"/>
                </a:lnTo>
                <a:lnTo>
                  <a:pt x="12192000" y="1008838"/>
                </a:lnTo>
                <a:lnTo>
                  <a:pt x="12147976" y="1027873"/>
                </a:lnTo>
                <a:lnTo>
                  <a:pt x="12103695" y="1046580"/>
                </a:lnTo>
                <a:lnTo>
                  <a:pt x="12059162" y="1064960"/>
                </a:lnTo>
                <a:lnTo>
                  <a:pt x="12014382" y="1083015"/>
                </a:lnTo>
                <a:lnTo>
                  <a:pt x="11969360" y="1100744"/>
                </a:lnTo>
                <a:lnTo>
                  <a:pt x="11924100" y="1118147"/>
                </a:lnTo>
                <a:lnTo>
                  <a:pt x="11878609" y="1135227"/>
                </a:lnTo>
                <a:lnTo>
                  <a:pt x="11832891" y="1151982"/>
                </a:lnTo>
                <a:lnTo>
                  <a:pt x="11786951" y="1168414"/>
                </a:lnTo>
                <a:lnTo>
                  <a:pt x="11740793" y="1184523"/>
                </a:lnTo>
                <a:lnTo>
                  <a:pt x="11694424" y="1200309"/>
                </a:lnTo>
                <a:lnTo>
                  <a:pt x="11647847" y="1215774"/>
                </a:lnTo>
                <a:lnTo>
                  <a:pt x="11601068" y="1230917"/>
                </a:lnTo>
                <a:lnTo>
                  <a:pt x="11554093" y="1245740"/>
                </a:lnTo>
                <a:lnTo>
                  <a:pt x="11506925" y="1260242"/>
                </a:lnTo>
                <a:lnTo>
                  <a:pt x="11459569" y="1274425"/>
                </a:lnTo>
                <a:lnTo>
                  <a:pt x="11412032" y="1288288"/>
                </a:lnTo>
                <a:lnTo>
                  <a:pt x="11364318" y="1301833"/>
                </a:lnTo>
                <a:lnTo>
                  <a:pt x="11316431" y="1315060"/>
                </a:lnTo>
                <a:lnTo>
                  <a:pt x="11268377" y="1327969"/>
                </a:lnTo>
                <a:lnTo>
                  <a:pt x="11220161" y="1340561"/>
                </a:lnTo>
                <a:lnTo>
                  <a:pt x="11171788" y="1352836"/>
                </a:lnTo>
                <a:lnTo>
                  <a:pt x="11123263" y="1364796"/>
                </a:lnTo>
                <a:lnTo>
                  <a:pt x="11074590" y="1376440"/>
                </a:lnTo>
                <a:lnTo>
                  <a:pt x="11025776" y="1387769"/>
                </a:lnTo>
                <a:lnTo>
                  <a:pt x="10976824" y="1398783"/>
                </a:lnTo>
                <a:lnTo>
                  <a:pt x="10927740" y="1409484"/>
                </a:lnTo>
                <a:lnTo>
                  <a:pt x="10878528" y="1419872"/>
                </a:lnTo>
                <a:lnTo>
                  <a:pt x="10829194" y="1429946"/>
                </a:lnTo>
                <a:lnTo>
                  <a:pt x="10779744" y="1439709"/>
                </a:lnTo>
                <a:lnTo>
                  <a:pt x="10730180" y="1449159"/>
                </a:lnTo>
                <a:lnTo>
                  <a:pt x="10680510" y="1458299"/>
                </a:lnTo>
                <a:lnTo>
                  <a:pt x="10630737" y="1467128"/>
                </a:lnTo>
                <a:lnTo>
                  <a:pt x="10580867" y="1475646"/>
                </a:lnTo>
                <a:lnTo>
                  <a:pt x="10530905" y="1483856"/>
                </a:lnTo>
                <a:lnTo>
                  <a:pt x="10480855" y="1491756"/>
                </a:lnTo>
                <a:lnTo>
                  <a:pt x="10430723" y="1499347"/>
                </a:lnTo>
                <a:lnTo>
                  <a:pt x="10380514" y="1506631"/>
                </a:lnTo>
                <a:lnTo>
                  <a:pt x="10330232" y="1513607"/>
                </a:lnTo>
                <a:lnTo>
                  <a:pt x="10279883" y="1520276"/>
                </a:lnTo>
                <a:lnTo>
                  <a:pt x="10229472" y="1526638"/>
                </a:lnTo>
                <a:lnTo>
                  <a:pt x="10179004" y="1532695"/>
                </a:lnTo>
                <a:lnTo>
                  <a:pt x="10128483" y="1538447"/>
                </a:lnTo>
                <a:lnTo>
                  <a:pt x="10077914" y="1543893"/>
                </a:lnTo>
                <a:lnTo>
                  <a:pt x="10027304" y="1549036"/>
                </a:lnTo>
                <a:lnTo>
                  <a:pt x="9976655" y="1553875"/>
                </a:lnTo>
                <a:lnTo>
                  <a:pt x="9925975" y="1558410"/>
                </a:lnTo>
                <a:lnTo>
                  <a:pt x="9875267" y="1562643"/>
                </a:lnTo>
                <a:lnTo>
                  <a:pt x="9824537" y="1566574"/>
                </a:lnTo>
                <a:lnTo>
                  <a:pt x="9773789" y="1570203"/>
                </a:lnTo>
                <a:lnTo>
                  <a:pt x="9723029" y="1573531"/>
                </a:lnTo>
                <a:lnTo>
                  <a:pt x="9672261" y="1576558"/>
                </a:lnTo>
                <a:lnTo>
                  <a:pt x="9621491" y="1579285"/>
                </a:lnTo>
                <a:lnTo>
                  <a:pt x="9570724" y="1581713"/>
                </a:lnTo>
                <a:lnTo>
                  <a:pt x="9519964" y="1583842"/>
                </a:lnTo>
                <a:lnTo>
                  <a:pt x="9469216" y="1585673"/>
                </a:lnTo>
                <a:lnTo>
                  <a:pt x="9418487" y="1587206"/>
                </a:lnTo>
                <a:lnTo>
                  <a:pt x="9367779" y="1588441"/>
                </a:lnTo>
                <a:lnTo>
                  <a:pt x="9317099" y="1589380"/>
                </a:lnTo>
                <a:lnTo>
                  <a:pt x="9266452" y="1590022"/>
                </a:lnTo>
                <a:lnTo>
                  <a:pt x="9215842" y="1590369"/>
                </a:lnTo>
                <a:lnTo>
                  <a:pt x="9165275" y="1590420"/>
                </a:lnTo>
                <a:lnTo>
                  <a:pt x="9114755" y="1590177"/>
                </a:lnTo>
                <a:lnTo>
                  <a:pt x="9064287" y="1589639"/>
                </a:lnTo>
                <a:lnTo>
                  <a:pt x="9013877" y="1588808"/>
                </a:lnTo>
                <a:lnTo>
                  <a:pt x="8963530" y="1587684"/>
                </a:lnTo>
                <a:lnTo>
                  <a:pt x="8913250" y="1586267"/>
                </a:lnTo>
                <a:lnTo>
                  <a:pt x="8863042" y="1584559"/>
                </a:lnTo>
                <a:lnTo>
                  <a:pt x="8812912" y="1582559"/>
                </a:lnTo>
                <a:lnTo>
                  <a:pt x="8762864" y="1580267"/>
                </a:lnTo>
                <a:lnTo>
                  <a:pt x="8712904" y="1577686"/>
                </a:lnTo>
                <a:lnTo>
                  <a:pt x="8663036" y="1574814"/>
                </a:lnTo>
                <a:lnTo>
                  <a:pt x="8613265" y="1571654"/>
                </a:lnTo>
                <a:lnTo>
                  <a:pt x="8563597" y="1568204"/>
                </a:lnTo>
                <a:lnTo>
                  <a:pt x="8514036" y="1564466"/>
                </a:lnTo>
                <a:lnTo>
                  <a:pt x="8464588" y="1560440"/>
                </a:lnTo>
                <a:lnTo>
                  <a:pt x="8415256" y="1556128"/>
                </a:lnTo>
                <a:lnTo>
                  <a:pt x="8366048" y="1551528"/>
                </a:lnTo>
                <a:lnTo>
                  <a:pt x="8316966" y="1546642"/>
                </a:lnTo>
                <a:lnTo>
                  <a:pt x="8268017" y="1541471"/>
                </a:lnTo>
                <a:lnTo>
                  <a:pt x="8219205" y="1536015"/>
                </a:lnTo>
                <a:lnTo>
                  <a:pt x="8170536" y="1530274"/>
                </a:lnTo>
                <a:lnTo>
                  <a:pt x="8122014" y="1524249"/>
                </a:lnTo>
                <a:lnTo>
                  <a:pt x="8073644" y="1517940"/>
                </a:lnTo>
                <a:lnTo>
                  <a:pt x="8025431" y="1511349"/>
                </a:lnTo>
                <a:lnTo>
                  <a:pt x="7977381" y="1504475"/>
                </a:lnTo>
                <a:lnTo>
                  <a:pt x="7929498" y="1497319"/>
                </a:lnTo>
                <a:lnTo>
                  <a:pt x="7881788" y="1489882"/>
                </a:lnTo>
                <a:lnTo>
                  <a:pt x="7834254" y="1482164"/>
                </a:lnTo>
                <a:lnTo>
                  <a:pt x="7786903" y="1474166"/>
                </a:lnTo>
                <a:lnTo>
                  <a:pt x="7738126" y="1465660"/>
                </a:lnTo>
                <a:lnTo>
                  <a:pt x="7640491" y="1448021"/>
                </a:lnTo>
                <a:lnTo>
                  <a:pt x="7542751" y="1429573"/>
                </a:lnTo>
                <a:lnTo>
                  <a:pt x="7444910" y="1410348"/>
                </a:lnTo>
                <a:lnTo>
                  <a:pt x="7346973" y="1390379"/>
                </a:lnTo>
                <a:lnTo>
                  <a:pt x="7248943" y="1369697"/>
                </a:lnTo>
                <a:lnTo>
                  <a:pt x="7150826" y="1348335"/>
                </a:lnTo>
                <a:lnTo>
                  <a:pt x="7052624" y="1326325"/>
                </a:lnTo>
                <a:lnTo>
                  <a:pt x="6954344" y="1303699"/>
                </a:lnTo>
                <a:lnTo>
                  <a:pt x="6855988" y="1280488"/>
                </a:lnTo>
                <a:lnTo>
                  <a:pt x="6757561" y="1256726"/>
                </a:lnTo>
                <a:lnTo>
                  <a:pt x="6609797" y="1220118"/>
                </a:lnTo>
                <a:lnTo>
                  <a:pt x="6461898" y="1182449"/>
                </a:lnTo>
                <a:lnTo>
                  <a:pt x="6313878" y="1143828"/>
                </a:lnTo>
                <a:lnTo>
                  <a:pt x="6116354" y="1091037"/>
                </a:lnTo>
                <a:lnTo>
                  <a:pt x="5918674" y="1037003"/>
                </a:lnTo>
                <a:lnTo>
                  <a:pt x="5671408" y="968101"/>
                </a:lnTo>
                <a:lnTo>
                  <a:pt x="4632326" y="673191"/>
                </a:lnTo>
                <a:lnTo>
                  <a:pt x="4335739" y="590761"/>
                </a:lnTo>
                <a:lnTo>
                  <a:pt x="4138197" y="537088"/>
                </a:lnTo>
                <a:lnTo>
                  <a:pt x="3940841" y="484740"/>
                </a:lnTo>
                <a:lnTo>
                  <a:pt x="3792966" y="446503"/>
                </a:lnTo>
                <a:lnTo>
                  <a:pt x="3645230" y="409263"/>
                </a:lnTo>
                <a:lnTo>
                  <a:pt x="3497647" y="373130"/>
                </a:lnTo>
                <a:lnTo>
                  <a:pt x="3399350" y="349710"/>
                </a:lnTo>
                <a:lnTo>
                  <a:pt x="3301131" y="326862"/>
                </a:lnTo>
                <a:lnTo>
                  <a:pt x="3202995" y="304617"/>
                </a:lnTo>
                <a:lnTo>
                  <a:pt x="3104947" y="283009"/>
                </a:lnTo>
                <a:lnTo>
                  <a:pt x="3006989" y="262069"/>
                </a:lnTo>
                <a:lnTo>
                  <a:pt x="2909128" y="241830"/>
                </a:lnTo>
                <a:lnTo>
                  <a:pt x="2811366" y="222323"/>
                </a:lnTo>
                <a:lnTo>
                  <a:pt x="2713708" y="203581"/>
                </a:lnTo>
                <a:lnTo>
                  <a:pt x="2616159" y="185635"/>
                </a:lnTo>
                <a:lnTo>
                  <a:pt x="2518722" y="168518"/>
                </a:lnTo>
                <a:lnTo>
                  <a:pt x="2421402" y="152263"/>
                </a:lnTo>
                <a:lnTo>
                  <a:pt x="2324204" y="136900"/>
                </a:lnTo>
                <a:lnTo>
                  <a:pt x="2227131" y="122463"/>
                </a:lnTo>
                <a:lnTo>
                  <a:pt x="2130188" y="108983"/>
                </a:lnTo>
                <a:lnTo>
                  <a:pt x="2033378" y="96492"/>
                </a:lnTo>
                <a:lnTo>
                  <a:pt x="1936708" y="85023"/>
                </a:lnTo>
                <a:lnTo>
                  <a:pt x="1888425" y="79682"/>
                </a:lnTo>
                <a:lnTo>
                  <a:pt x="1840179" y="74608"/>
                </a:lnTo>
                <a:lnTo>
                  <a:pt x="1791970" y="69805"/>
                </a:lnTo>
                <a:lnTo>
                  <a:pt x="1743798" y="65278"/>
                </a:lnTo>
                <a:lnTo>
                  <a:pt x="1695663" y="61030"/>
                </a:lnTo>
                <a:lnTo>
                  <a:pt x="1647567" y="57066"/>
                </a:lnTo>
                <a:lnTo>
                  <a:pt x="1599510" y="53390"/>
                </a:lnTo>
                <a:lnTo>
                  <a:pt x="1551492" y="50004"/>
                </a:lnTo>
                <a:lnTo>
                  <a:pt x="1503514" y="46915"/>
                </a:lnTo>
                <a:lnTo>
                  <a:pt x="1451727" y="41426"/>
                </a:lnTo>
                <a:lnTo>
                  <a:pt x="1400000" y="36255"/>
                </a:lnTo>
                <a:lnTo>
                  <a:pt x="1348336" y="31407"/>
                </a:lnTo>
                <a:lnTo>
                  <a:pt x="1296735" y="26886"/>
                </a:lnTo>
                <a:lnTo>
                  <a:pt x="1245197" y="22697"/>
                </a:lnTo>
                <a:lnTo>
                  <a:pt x="1193723" y="18846"/>
                </a:lnTo>
                <a:lnTo>
                  <a:pt x="1142315" y="15337"/>
                </a:lnTo>
                <a:lnTo>
                  <a:pt x="1090973" y="12176"/>
                </a:lnTo>
                <a:lnTo>
                  <a:pt x="1039697" y="9368"/>
                </a:lnTo>
                <a:lnTo>
                  <a:pt x="988488" y="6917"/>
                </a:lnTo>
                <a:lnTo>
                  <a:pt x="937348" y="4828"/>
                </a:lnTo>
                <a:lnTo>
                  <a:pt x="886276" y="3107"/>
                </a:lnTo>
                <a:lnTo>
                  <a:pt x="835274" y="1759"/>
                </a:lnTo>
                <a:lnTo>
                  <a:pt x="784343" y="788"/>
                </a:lnTo>
                <a:lnTo>
                  <a:pt x="733482" y="200"/>
                </a:lnTo>
                <a:lnTo>
                  <a:pt x="682693" y="0"/>
                </a:lnTo>
                <a:close/>
              </a:path>
            </a:pathLst>
          </a:custGeom>
          <a:solidFill>
            <a:srgbClr val="1C488A"/>
          </a:solidFill>
        </p:spPr>
        <p:txBody>
          <a:bodyPr wrap="square" lIns="0" tIns="0" rIns="0" bIns="0" rtlCol="0"/>
          <a:lstStyle/>
          <a:p>
            <a:endParaRPr sz="1800"/>
          </a:p>
        </p:txBody>
      </p:sp>
      <p:pic>
        <p:nvPicPr>
          <p:cNvPr id="20" name="bg object 20"/>
          <p:cNvPicPr/>
          <p:nvPr/>
        </p:nvPicPr>
        <p:blipFill>
          <a:blip r:embed="rId3" cstate="print"/>
          <a:stretch>
            <a:fillRect/>
          </a:stretch>
        </p:blipFill>
        <p:spPr>
          <a:xfrm>
            <a:off x="313957" y="5564124"/>
            <a:ext cx="2025383" cy="911351"/>
          </a:xfrm>
          <a:prstGeom prst="rect">
            <a:avLst/>
          </a:prstGeom>
        </p:spPr>
      </p:pic>
      <p:sp>
        <p:nvSpPr>
          <p:cNvPr id="21" name="bg object 21"/>
          <p:cNvSpPr/>
          <p:nvPr/>
        </p:nvSpPr>
        <p:spPr>
          <a:xfrm>
            <a:off x="1520189" y="2812542"/>
            <a:ext cx="2286000" cy="0"/>
          </a:xfrm>
          <a:custGeom>
            <a:avLst/>
            <a:gdLst/>
            <a:ahLst/>
            <a:cxnLst/>
            <a:rect l="l" t="t" r="r" b="b"/>
            <a:pathLst>
              <a:path w="2286000">
                <a:moveTo>
                  <a:pt x="0" y="0"/>
                </a:moveTo>
                <a:lnTo>
                  <a:pt x="2286000" y="0"/>
                </a:lnTo>
              </a:path>
            </a:pathLst>
          </a:custGeom>
          <a:ln w="32004">
            <a:solidFill>
              <a:srgbClr val="F58366"/>
            </a:solidFill>
          </a:ln>
        </p:spPr>
        <p:txBody>
          <a:bodyPr wrap="square" lIns="0" tIns="0" rIns="0" bIns="0" rtlCol="0"/>
          <a:lstStyle/>
          <a:p>
            <a:endParaRPr sz="1800"/>
          </a:p>
        </p:txBody>
      </p:sp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471690" y="493920"/>
            <a:ext cx="11248618" cy="57404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40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7/15/24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200" b="0" i="0">
                <a:solidFill>
                  <a:srgbClr val="AEB3B8"/>
                </a:solidFill>
                <a:latin typeface="Arial"/>
                <a:cs typeface="Arial"/>
              </a:defRPr>
            </a:lvl1pPr>
          </a:lstStyle>
          <a:p>
            <a:pPr marL="38102">
              <a:lnSpc>
                <a:spcPts val="1425"/>
              </a:lnSpc>
            </a:pPr>
            <a:fld id="{81D60167-4931-47E6-BA6A-407CBD079E47}" type="slidenum">
              <a:rPr lang="en-US" spc="-5" smtClean="0">
                <a:solidFill>
                  <a:srgbClr val="929599"/>
                </a:solidFill>
              </a:rPr>
              <a:pPr marL="38102">
                <a:lnSpc>
                  <a:spcPts val="1425"/>
                </a:lnSpc>
              </a:pPr>
              <a:t>‹#›</a:t>
            </a:fld>
            <a:endParaRPr lang="en-US" spc="-5">
              <a:solidFill>
                <a:srgbClr val="9295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32401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8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3686679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406548194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61480101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9079145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2775852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74728801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25519462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898032396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40412566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22584529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4216092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991876091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FAAABCDA-8311-924D-A6DF-7015A596B52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57200" y="1146258"/>
            <a:ext cx="2350169" cy="2971798"/>
          </a:xfrm>
          <a:noFill/>
        </p:spPr>
        <p:txBody>
          <a:bodyPr lIns="91440" rIns="91440" anchor="t" anchorCtr="0"/>
          <a:lstStyle>
            <a:lvl1pPr marL="0" indent="0">
              <a:buNone/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3AD8FE4-9135-474D-AB67-74EE5B819A7C}"/>
              </a:ext>
            </a:extLst>
          </p:cNvPr>
          <p:cNvCxnSpPr>
            <a:cxnSpLocks/>
          </p:cNvCxnSpPr>
          <p:nvPr userDrawn="1"/>
        </p:nvCxnSpPr>
        <p:spPr>
          <a:xfrm>
            <a:off x="457200" y="947987"/>
            <a:ext cx="2350168" cy="0"/>
          </a:xfrm>
          <a:prstGeom prst="line">
            <a:avLst/>
          </a:prstGeom>
          <a:ln w="317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" name="Group 2">
            <a:extLst>
              <a:ext uri="{FF2B5EF4-FFF2-40B4-BE49-F238E27FC236}">
                <a16:creationId xmlns:a16="http://schemas.microsoft.com/office/drawing/2014/main" id="{4536B901-8811-1F4C-B081-7D5733E9A4BE}"/>
              </a:ext>
            </a:extLst>
          </p:cNvPr>
          <p:cNvGrpSpPr/>
          <p:nvPr userDrawn="1"/>
        </p:nvGrpSpPr>
        <p:grpSpPr>
          <a:xfrm>
            <a:off x="0" y="5379427"/>
            <a:ext cx="2807368" cy="753891"/>
            <a:chOff x="0" y="5379426"/>
            <a:chExt cx="2807368" cy="753891"/>
          </a:xfrm>
        </p:grpSpPr>
        <p:sp>
          <p:nvSpPr>
            <p:cNvPr id="22" name="Freeform 21">
              <a:extLst>
                <a:ext uri="{FF2B5EF4-FFF2-40B4-BE49-F238E27FC236}">
                  <a16:creationId xmlns:a16="http://schemas.microsoft.com/office/drawing/2014/main" id="{F03F6CCB-6D8C-8445-96B6-E5F693F2AA62}"/>
                </a:ext>
              </a:extLst>
            </p:cNvPr>
            <p:cNvSpPr/>
            <p:nvPr userDrawn="1"/>
          </p:nvSpPr>
          <p:spPr>
            <a:xfrm>
              <a:off x="0" y="5532510"/>
              <a:ext cx="2807368" cy="600807"/>
            </a:xfrm>
            <a:custGeom>
              <a:avLst/>
              <a:gdLst>
                <a:gd name="connsiteX0" fmla="*/ 0 w 2807368"/>
                <a:gd name="connsiteY0" fmla="*/ 0 h 600807"/>
                <a:gd name="connsiteX1" fmla="*/ 429971 w 2807368"/>
                <a:gd name="connsiteY1" fmla="*/ 123998 h 600807"/>
                <a:gd name="connsiteX2" fmla="*/ 2790212 w 2807368"/>
                <a:gd name="connsiteY2" fmla="*/ 235402 h 600807"/>
                <a:gd name="connsiteX3" fmla="*/ 2807368 w 2807368"/>
                <a:gd name="connsiteY3" fmla="*/ 231522 h 600807"/>
                <a:gd name="connsiteX4" fmla="*/ 2807368 w 2807368"/>
                <a:gd name="connsiteY4" fmla="*/ 566106 h 600807"/>
                <a:gd name="connsiteX5" fmla="*/ 2593885 w 2807368"/>
                <a:gd name="connsiteY5" fmla="*/ 587498 h 600807"/>
                <a:gd name="connsiteX6" fmla="*/ 100844 w 2807368"/>
                <a:gd name="connsiteY6" fmla="*/ 222653 h 600807"/>
                <a:gd name="connsiteX7" fmla="*/ 0 w 2807368"/>
                <a:gd name="connsiteY7" fmla="*/ 188389 h 6008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2807368" h="600807">
                  <a:moveTo>
                    <a:pt x="0" y="0"/>
                  </a:moveTo>
                  <a:lnTo>
                    <a:pt x="429971" y="123998"/>
                  </a:lnTo>
                  <a:cubicBezTo>
                    <a:pt x="1184765" y="325331"/>
                    <a:pt x="2014184" y="392492"/>
                    <a:pt x="2790212" y="235402"/>
                  </a:cubicBezTo>
                  <a:lnTo>
                    <a:pt x="2807368" y="231522"/>
                  </a:lnTo>
                  <a:lnTo>
                    <a:pt x="2807368" y="566106"/>
                  </a:lnTo>
                  <a:lnTo>
                    <a:pt x="2593885" y="587498"/>
                  </a:lnTo>
                  <a:cubicBezTo>
                    <a:pt x="1673646" y="651184"/>
                    <a:pt x="884869" y="479260"/>
                    <a:pt x="100844" y="222653"/>
                  </a:cubicBezTo>
                  <a:lnTo>
                    <a:pt x="0" y="188389"/>
                  </a:ln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60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0E3E0C40-3584-6C4D-8DA3-C9A4FA58FAC5}"/>
                </a:ext>
              </a:extLst>
            </p:cNvPr>
            <p:cNvSpPr/>
            <p:nvPr userDrawn="1"/>
          </p:nvSpPr>
          <p:spPr>
            <a:xfrm>
              <a:off x="0" y="5379426"/>
              <a:ext cx="2807368" cy="649803"/>
            </a:xfrm>
            <a:custGeom>
              <a:avLst/>
              <a:gdLst>
                <a:gd name="connsiteX0" fmla="*/ 0 w 2807368"/>
                <a:gd name="connsiteY0" fmla="*/ 0 h 649803"/>
                <a:gd name="connsiteX1" fmla="*/ 282676 w 2807368"/>
                <a:gd name="connsiteY1" fmla="*/ 70799 h 649803"/>
                <a:gd name="connsiteX2" fmla="*/ 740881 w 2807368"/>
                <a:gd name="connsiteY2" fmla="*/ 163828 h 649803"/>
                <a:gd name="connsiteX3" fmla="*/ 2706471 w 2807368"/>
                <a:gd name="connsiteY3" fmla="*/ 96397 h 649803"/>
                <a:gd name="connsiteX4" fmla="*/ 2807368 w 2807368"/>
                <a:gd name="connsiteY4" fmla="*/ 67250 h 649803"/>
                <a:gd name="connsiteX5" fmla="*/ 2807368 w 2807368"/>
                <a:gd name="connsiteY5" fmla="*/ 605551 h 649803"/>
                <a:gd name="connsiteX6" fmla="*/ 2602685 w 2807368"/>
                <a:gd name="connsiteY6" fmla="*/ 629466 h 649803"/>
                <a:gd name="connsiteX7" fmla="*/ 105614 w 2807368"/>
                <a:gd name="connsiteY7" fmla="*/ 305882 h 649803"/>
                <a:gd name="connsiteX8" fmla="*/ 0 w 2807368"/>
                <a:gd name="connsiteY8" fmla="*/ 271926 h 64980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807368" h="649803">
                  <a:moveTo>
                    <a:pt x="0" y="0"/>
                  </a:moveTo>
                  <a:lnTo>
                    <a:pt x="282676" y="70799"/>
                  </a:lnTo>
                  <a:cubicBezTo>
                    <a:pt x="435964" y="106085"/>
                    <a:pt x="588770" y="137629"/>
                    <a:pt x="740881" y="163828"/>
                  </a:cubicBezTo>
                  <a:cubicBezTo>
                    <a:pt x="1362800" y="270912"/>
                    <a:pt x="2067879" y="253759"/>
                    <a:pt x="2706471" y="96397"/>
                  </a:cubicBezTo>
                  <a:lnTo>
                    <a:pt x="2807368" y="67250"/>
                  </a:lnTo>
                  <a:lnTo>
                    <a:pt x="2807368" y="605551"/>
                  </a:lnTo>
                  <a:lnTo>
                    <a:pt x="2602685" y="629466"/>
                  </a:lnTo>
                  <a:cubicBezTo>
                    <a:pt x="1684237" y="708219"/>
                    <a:pt x="893252" y="549395"/>
                    <a:pt x="105614" y="305882"/>
                  </a:cubicBezTo>
                  <a:lnTo>
                    <a:pt x="0" y="271926"/>
                  </a:ln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</p:grp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2102ABDF-B40E-EE47-91BE-33AA545AB9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2807368" y="457202"/>
            <a:ext cx="8915400" cy="5943598"/>
          </a:xfrm>
        </p:spPr>
        <p:txBody>
          <a:bodyPr/>
          <a:lstStyle/>
          <a:p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8B8477A3-E3D5-C34E-BBB2-E175BBA015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13349" y="4385538"/>
            <a:ext cx="2025315" cy="9119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81573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1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137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2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11480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4" name="Group 63">
            <a:extLst>
              <a:ext uri="{FF2B5EF4-FFF2-40B4-BE49-F238E27FC236}">
                <a16:creationId xmlns:a16="http://schemas.microsoft.com/office/drawing/2014/main" id="{A21757B8-A167-9543-93A9-28F5B7DD3AE1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65" name="Picture 64">
              <a:extLst>
                <a:ext uri="{FF2B5EF4-FFF2-40B4-BE49-F238E27FC236}">
                  <a16:creationId xmlns:a16="http://schemas.microsoft.com/office/drawing/2014/main" id="{6EBC46AE-6314-AD40-82FD-F829616826D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66" name="Group 65">
              <a:extLst>
                <a:ext uri="{FF2B5EF4-FFF2-40B4-BE49-F238E27FC236}">
                  <a16:creationId xmlns:a16="http://schemas.microsoft.com/office/drawing/2014/main" id="{30FC3B73-056B-044C-8E87-4D1E3E439726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67" name="Freeform 66">
                <a:extLst>
                  <a:ext uri="{FF2B5EF4-FFF2-40B4-BE49-F238E27FC236}">
                    <a16:creationId xmlns:a16="http://schemas.microsoft.com/office/drawing/2014/main" id="{2ACC1B52-515D-F34B-AC92-E99524E4E1A9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68" name="Freeform 67">
                <a:extLst>
                  <a:ext uri="{FF2B5EF4-FFF2-40B4-BE49-F238E27FC236}">
                    <a16:creationId xmlns:a16="http://schemas.microsoft.com/office/drawing/2014/main" id="{B72204B9-A3A2-384F-8D98-694F41E5700F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9853839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5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4F9613-3E06-3F48-82B4-2A1443C750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414D1D0-13C0-1C48-8509-A31993AA0188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09600" y="1825626"/>
            <a:ext cx="54102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pSp>
        <p:nvGrpSpPr>
          <p:cNvPr id="44" name="Group 43">
            <a:extLst>
              <a:ext uri="{FF2B5EF4-FFF2-40B4-BE49-F238E27FC236}">
                <a16:creationId xmlns:a16="http://schemas.microsoft.com/office/drawing/2014/main" id="{C31C0657-04E2-D545-B5F6-0497061C9D05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338F5E7-D129-6645-8C24-2FD0BA1F9E5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28F36C39-8E69-F445-8464-88EC96A2467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42" name="Freeform 41">
                <a:extLst>
                  <a:ext uri="{FF2B5EF4-FFF2-40B4-BE49-F238E27FC236}">
                    <a16:creationId xmlns:a16="http://schemas.microsoft.com/office/drawing/2014/main" id="{C69BDA35-9203-0445-8810-A728F1BA10E1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40" name="Freeform 39">
                <a:extLst>
                  <a:ext uri="{FF2B5EF4-FFF2-40B4-BE49-F238E27FC236}">
                    <a16:creationId xmlns:a16="http://schemas.microsoft.com/office/drawing/2014/main" id="{91F10EC0-4FE0-DA44-B3E9-8BAB32988703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7AC49C6-C095-154D-9A46-1A58CDDD4EA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6"/>
            <a:ext cx="5410199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D558E08-9048-CC4B-A710-8B9165DDD7A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198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1883F68-545E-8C40-8E0F-73BEF76D2AFE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37E3AC-CC1F-C94D-A556-F1ED79EA6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468810016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5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5" name="Group 24">
            <a:extLst>
              <a:ext uri="{FF2B5EF4-FFF2-40B4-BE49-F238E27FC236}">
                <a16:creationId xmlns:a16="http://schemas.microsoft.com/office/drawing/2014/main" id="{0A9E872B-2A7D-634E-BC84-C151E86E609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FA9C46F1-AD3D-CE4E-A117-F5342D4B62C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F28E4D70-C44F-CA48-A579-9B58C0FEB582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C86168EB-479C-C240-960B-6A139D47D16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43802725-C646-4B47-ACA4-0A77C90C6198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3E6D063-0BA2-C843-9F1B-0429DB7C51D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6"/>
            <a:ext cx="109728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B694B1-145A-BD4F-95A3-18C4FB7F31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1" y="1681163"/>
            <a:ext cx="5387975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03DAFCD-AF7D-4A43-9492-D4C9EC4058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1" y="2505075"/>
            <a:ext cx="5387975" cy="3684588"/>
          </a:xfrm>
          <a:solidFill>
            <a:schemeClr val="bg2"/>
          </a:solidFill>
        </p:spPr>
        <p:txBody>
          <a:bodyPr lIns="182880" tIns="0" rIns="182880" bIns="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D5936CB-B19E-AB4F-954A-9107A1AB579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410200" cy="823912"/>
          </a:xfrm>
          <a:solidFill>
            <a:schemeClr val="bg2"/>
          </a:solidFill>
        </p:spPr>
        <p:txBody>
          <a:bodyPr lIns="182880" tIns="0" rIns="182880" bIns="0" anchor="ctr" anchorCtr="0">
            <a:noAutofit/>
          </a:bodyPr>
          <a:lstStyle>
            <a:lvl1pPr marL="0" indent="0">
              <a:buNone/>
              <a:defRPr sz="2400" b="0" u="sng" baseline="0">
                <a:solidFill>
                  <a:schemeClr val="tx1"/>
                </a:solidFill>
                <a:uFill>
                  <a:solidFill>
                    <a:schemeClr val="accent3"/>
                  </a:solidFill>
                </a:uFill>
                <a:latin typeface="+mj-lt"/>
              </a:defRPr>
            </a:lvl1pPr>
            <a:lvl2pPr marL="457223" indent="0">
              <a:buNone/>
              <a:defRPr sz="2000" b="1"/>
            </a:lvl2pPr>
            <a:lvl3pPr marL="914446" indent="0">
              <a:buNone/>
              <a:defRPr sz="1800" b="1"/>
            </a:lvl3pPr>
            <a:lvl4pPr marL="1371669" indent="0">
              <a:buNone/>
              <a:defRPr sz="1600" b="1"/>
            </a:lvl4pPr>
            <a:lvl5pPr marL="1828891" indent="0">
              <a:buNone/>
              <a:defRPr sz="1600" b="1"/>
            </a:lvl5pPr>
            <a:lvl6pPr marL="2286114" indent="0">
              <a:buNone/>
              <a:defRPr sz="1600" b="1"/>
            </a:lvl6pPr>
            <a:lvl7pPr marL="2743337" indent="0">
              <a:buNone/>
              <a:defRPr sz="1600" b="1"/>
            </a:lvl7pPr>
            <a:lvl8pPr marL="3200560" indent="0">
              <a:buNone/>
              <a:defRPr sz="1600" b="1"/>
            </a:lvl8pPr>
            <a:lvl9pPr marL="3657783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81F0BC5-358A-624D-831F-0C9192B39C2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410200" cy="3684588"/>
          </a:xfrm>
          <a:solidFill>
            <a:schemeClr val="bg2"/>
          </a:solidFill>
        </p:spPr>
        <p:txBody>
          <a:bodyPr lIns="182880" tIns="0" rIns="182880" bIns="0">
            <a:no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6BD8A42-7B0F-BB4D-8ADE-0BD0E43A224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4B2CE60-548B-F44E-A1CF-1783C033B22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8DF50CF-ADF4-344E-8BC2-A3F7B9B9EC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214774073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>
            <a:extLst>
              <a:ext uri="{FF2B5EF4-FFF2-40B4-BE49-F238E27FC236}">
                <a16:creationId xmlns:a16="http://schemas.microsoft.com/office/drawing/2014/main" id="{EA15D652-75FA-E34B-8638-471C3EAA3A7A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ABFC1EB7-14FE-F440-B28D-33144EBA369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3ED010AE-CEE8-BB43-819D-3EBFCBB9EFD3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9A713DF7-12D7-3D45-B2CD-079A5CCC5483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695853EB-958A-914B-9546-97D42C496E2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2BE3FC36-DEB7-3740-8AEF-68A1103135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24D4A52-97EB-E843-9C46-8B20FA301A5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997EC28-0E19-EA46-AB10-B1454BC5BB86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A48F442-B148-9C40-99E4-49DEFBC2AF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109584940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2" name="Group 41">
            <a:extLst>
              <a:ext uri="{FF2B5EF4-FFF2-40B4-BE49-F238E27FC236}">
                <a16:creationId xmlns:a16="http://schemas.microsoft.com/office/drawing/2014/main" id="{A5A1B233-6B08-D748-B970-CE3044B1869E}"/>
              </a:ext>
            </a:extLst>
          </p:cNvPr>
          <p:cNvGrpSpPr/>
          <p:nvPr userDrawn="1"/>
        </p:nvGrpSpPr>
        <p:grpSpPr>
          <a:xfrm>
            <a:off x="0" y="0"/>
            <a:ext cx="12192000" cy="2148830"/>
            <a:chOff x="0" y="0"/>
            <a:chExt cx="12192000" cy="2148830"/>
          </a:xfrm>
        </p:grpSpPr>
        <p:sp>
          <p:nvSpPr>
            <p:cNvPr id="41" name="Freeform 40">
              <a:extLst>
                <a:ext uri="{FF2B5EF4-FFF2-40B4-BE49-F238E27FC236}">
                  <a16:creationId xmlns:a16="http://schemas.microsoft.com/office/drawing/2014/main" id="{FA74F784-A2AC-8240-BED1-2683425B68BF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2148830"/>
            </a:xfrm>
            <a:custGeom>
              <a:avLst/>
              <a:gdLst>
                <a:gd name="connsiteX0" fmla="*/ 2318293 w 12192000"/>
                <a:gd name="connsiteY0" fmla="*/ 0 h 2148830"/>
                <a:gd name="connsiteX1" fmla="*/ 2110341 w 12192000"/>
                <a:gd name="connsiteY1" fmla="*/ 0 h 2148830"/>
                <a:gd name="connsiteX2" fmla="*/ 1952334 w 12192000"/>
                <a:gd name="connsiteY2" fmla="*/ 920 h 2148830"/>
                <a:gd name="connsiteX3" fmla="*/ 184205 w 12192000"/>
                <a:gd name="connsiteY3" fmla="*/ 435928 h 2148830"/>
                <a:gd name="connsiteX4" fmla="*/ 0 w 12192000"/>
                <a:gd name="connsiteY4" fmla="*/ 536864 h 2148830"/>
                <a:gd name="connsiteX5" fmla="*/ 0 w 12192000"/>
                <a:gd name="connsiteY5" fmla="*/ 554713 h 2148830"/>
                <a:gd name="connsiteX6" fmla="*/ 201115 w 12192000"/>
                <a:gd name="connsiteY6" fmla="*/ 452796 h 2148830"/>
                <a:gd name="connsiteX7" fmla="*/ 1947588 w 12192000"/>
                <a:gd name="connsiteY7" fmla="*/ 66249 h 2148830"/>
                <a:gd name="connsiteX8" fmla="*/ 4778140 w 12192000"/>
                <a:gd name="connsiteY8" fmla="*/ 604018 h 2148830"/>
                <a:gd name="connsiteX9" fmla="*/ 11996242 w 12192000"/>
                <a:gd name="connsiteY9" fmla="*/ 2036894 h 2148830"/>
                <a:gd name="connsiteX10" fmla="*/ 12192000 w 12192000"/>
                <a:gd name="connsiteY10" fmla="*/ 2002266 h 2148830"/>
                <a:gd name="connsiteX11" fmla="*/ 12192000 w 12192000"/>
                <a:gd name="connsiteY11" fmla="*/ 1415250 h 2148830"/>
                <a:gd name="connsiteX12" fmla="*/ 12022971 w 12192000"/>
                <a:gd name="connsiteY12" fmla="*/ 1470801 h 2148830"/>
                <a:gd name="connsiteX13" fmla="*/ 7970940 w 12192000"/>
                <a:gd name="connsiteY13" fmla="*/ 1436986 h 2148830"/>
                <a:gd name="connsiteX14" fmla="*/ 4800356 w 12192000"/>
                <a:gd name="connsiteY14" fmla="*/ 456582 h 2148830"/>
                <a:gd name="connsiteX15" fmla="*/ 2646880 w 12192000"/>
                <a:gd name="connsiteY15" fmla="*/ 17560 h 21488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2148830">
                  <a:moveTo>
                    <a:pt x="2318293" y="0"/>
                  </a:moveTo>
                  <a:lnTo>
                    <a:pt x="2110341" y="0"/>
                  </a:lnTo>
                  <a:lnTo>
                    <a:pt x="1952334" y="920"/>
                  </a:lnTo>
                  <a:cubicBezTo>
                    <a:pt x="1343499" y="23864"/>
                    <a:pt x="752130" y="152982"/>
                    <a:pt x="184205" y="435928"/>
                  </a:cubicBezTo>
                  <a:lnTo>
                    <a:pt x="0" y="536864"/>
                  </a:lnTo>
                  <a:lnTo>
                    <a:pt x="0" y="554713"/>
                  </a:lnTo>
                  <a:lnTo>
                    <a:pt x="201115" y="452796"/>
                  </a:lnTo>
                  <a:cubicBezTo>
                    <a:pt x="776357" y="187336"/>
                    <a:pt x="1349828" y="76760"/>
                    <a:pt x="1947588" y="66249"/>
                  </a:cubicBezTo>
                  <a:cubicBezTo>
                    <a:pt x="2962940" y="48421"/>
                    <a:pt x="3890218" y="291317"/>
                    <a:pt x="4778140" y="604018"/>
                  </a:cubicBezTo>
                  <a:cubicBezTo>
                    <a:pt x="7231510" y="1468126"/>
                    <a:pt x="9178927" y="2492024"/>
                    <a:pt x="11996242" y="2036894"/>
                  </a:cubicBezTo>
                  <a:lnTo>
                    <a:pt x="12192000" y="2002266"/>
                  </a:lnTo>
                  <a:lnTo>
                    <a:pt x="12192000" y="1415250"/>
                  </a:lnTo>
                  <a:lnTo>
                    <a:pt x="12022971" y="1470801"/>
                  </a:lnTo>
                  <a:cubicBezTo>
                    <a:pt x="10719696" y="1863939"/>
                    <a:pt x="9271154" y="1783804"/>
                    <a:pt x="7970940" y="1436986"/>
                  </a:cubicBezTo>
                  <a:cubicBezTo>
                    <a:pt x="6890984" y="1148958"/>
                    <a:pt x="5866930" y="767309"/>
                    <a:pt x="4800356" y="456582"/>
                  </a:cubicBezTo>
                  <a:cubicBezTo>
                    <a:pt x="4068903" y="243471"/>
                    <a:pt x="3348204" y="74251"/>
                    <a:pt x="2646880" y="17560"/>
                  </a:cubicBezTo>
                  <a:close/>
                </a:path>
              </a:pathLst>
            </a:custGeom>
            <a:gradFill flip="none" rotWithShape="1">
              <a:gsLst>
                <a:gs pos="0">
                  <a:schemeClr val="accent3">
                    <a:lumMod val="75000"/>
                  </a:schemeClr>
                </a:gs>
                <a:gs pos="75000">
                  <a:schemeClr val="accent3"/>
                </a:gs>
              </a:gsLst>
              <a:lin ang="0" scaled="1"/>
              <a:tileRect/>
            </a:gra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EA28C7AD-68DD-D14D-853A-7EE56000E131}"/>
                </a:ext>
              </a:extLst>
            </p:cNvPr>
            <p:cNvSpPr/>
            <p:nvPr userDrawn="1"/>
          </p:nvSpPr>
          <p:spPr>
            <a:xfrm flipH="1">
              <a:off x="0" y="0"/>
              <a:ext cx="12192000" cy="1992138"/>
            </a:xfrm>
            <a:custGeom>
              <a:avLst/>
              <a:gdLst>
                <a:gd name="connsiteX0" fmla="*/ 2724271 w 12192000"/>
                <a:gd name="connsiteY0" fmla="*/ 0 h 1992138"/>
                <a:gd name="connsiteX1" fmla="*/ 1788442 w 12192000"/>
                <a:gd name="connsiteY1" fmla="*/ 0 h 1992138"/>
                <a:gd name="connsiteX2" fmla="*/ 1635403 w 12192000"/>
                <a:gd name="connsiteY2" fmla="*/ 12925 h 1992138"/>
                <a:gd name="connsiteX3" fmla="*/ 178220 w 12192000"/>
                <a:gd name="connsiteY3" fmla="*/ 451207 h 1992138"/>
                <a:gd name="connsiteX4" fmla="*/ 0 w 12192000"/>
                <a:gd name="connsiteY4" fmla="*/ 552718 h 1992138"/>
                <a:gd name="connsiteX5" fmla="*/ 0 w 12192000"/>
                <a:gd name="connsiteY5" fmla="*/ 570885 h 1992138"/>
                <a:gd name="connsiteX6" fmla="*/ 195368 w 12192000"/>
                <a:gd name="connsiteY6" fmla="*/ 467800 h 1992138"/>
                <a:gd name="connsiteX7" fmla="*/ 1934073 w 12192000"/>
                <a:gd name="connsiteY7" fmla="*/ 52850 h 1992138"/>
                <a:gd name="connsiteX8" fmla="*/ 4771217 w 12192000"/>
                <a:gd name="connsiteY8" fmla="*/ 543645 h 1992138"/>
                <a:gd name="connsiteX9" fmla="*/ 12007222 w 12192000"/>
                <a:gd name="connsiteY9" fmla="*/ 1856729 h 1992138"/>
                <a:gd name="connsiteX10" fmla="*/ 12192000 w 12192000"/>
                <a:gd name="connsiteY10" fmla="*/ 1820900 h 1992138"/>
                <a:gd name="connsiteX11" fmla="*/ 12192000 w 12192000"/>
                <a:gd name="connsiteY11" fmla="*/ 897073 h 1992138"/>
                <a:gd name="connsiteX12" fmla="*/ 12062517 w 12192000"/>
                <a:gd name="connsiteY12" fmla="*/ 950128 h 1992138"/>
                <a:gd name="connsiteX13" fmla="*/ 8435105 w 12192000"/>
                <a:gd name="connsiteY13" fmla="*/ 1266613 h 1992138"/>
                <a:gd name="connsiteX14" fmla="*/ 2948502 w 12192000"/>
                <a:gd name="connsiteY14" fmla="*/ 20548 h 19921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12192000" h="1992138">
                  <a:moveTo>
                    <a:pt x="2724271" y="0"/>
                  </a:moveTo>
                  <a:lnTo>
                    <a:pt x="1788442" y="0"/>
                  </a:lnTo>
                  <a:lnTo>
                    <a:pt x="1635403" y="12925"/>
                  </a:lnTo>
                  <a:cubicBezTo>
                    <a:pt x="1134241" y="70905"/>
                    <a:pt x="647221" y="207817"/>
                    <a:pt x="178220" y="451207"/>
                  </a:cubicBezTo>
                  <a:lnTo>
                    <a:pt x="0" y="552718"/>
                  </a:lnTo>
                  <a:lnTo>
                    <a:pt x="0" y="570885"/>
                  </a:lnTo>
                  <a:lnTo>
                    <a:pt x="195368" y="467800"/>
                  </a:lnTo>
                  <a:cubicBezTo>
                    <a:pt x="765758" y="193094"/>
                    <a:pt x="1336955" y="73179"/>
                    <a:pt x="1934073" y="52850"/>
                  </a:cubicBezTo>
                  <a:cubicBezTo>
                    <a:pt x="2948304" y="18310"/>
                    <a:pt x="3878878" y="245747"/>
                    <a:pt x="4771217" y="543645"/>
                  </a:cubicBezTo>
                  <a:cubicBezTo>
                    <a:pt x="7236913" y="1366709"/>
                    <a:pt x="9199689" y="2357774"/>
                    <a:pt x="12007222" y="1856729"/>
                  </a:cubicBezTo>
                  <a:lnTo>
                    <a:pt x="12192000" y="1820900"/>
                  </a:lnTo>
                  <a:lnTo>
                    <a:pt x="12192000" y="897073"/>
                  </a:lnTo>
                  <a:lnTo>
                    <a:pt x="12062517" y="950128"/>
                  </a:lnTo>
                  <a:cubicBezTo>
                    <a:pt x="10950292" y="1376478"/>
                    <a:pt x="9595706" y="1466451"/>
                    <a:pt x="8435105" y="1266613"/>
                  </a:cubicBezTo>
                  <a:cubicBezTo>
                    <a:pt x="6618389" y="953715"/>
                    <a:pt x="4735222" y="130088"/>
                    <a:pt x="2948502" y="20548"/>
                  </a:cubicBezTo>
                  <a:close/>
                </a:path>
              </a:pathLst>
            </a:custGeom>
            <a:solidFill>
              <a:srgbClr val="00498F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 sz="1800"/>
            </a:p>
          </p:txBody>
        </p: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517698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8C1CADB4-372A-5B4F-9CF0-0AB73DECC3E3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1219201" y="3429001"/>
            <a:ext cx="5582652" cy="1413563"/>
          </a:xfrm>
        </p:spPr>
        <p:txBody>
          <a:bodyPr numCol="2">
            <a:noAutofit/>
          </a:bodyPr>
          <a:lstStyle>
            <a:lvl1pPr marL="0" indent="0">
              <a:buNone/>
              <a:defRPr sz="20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itle 11">
            <a:extLst>
              <a:ext uri="{FF2B5EF4-FFF2-40B4-BE49-F238E27FC236}">
                <a16:creationId xmlns:a16="http://schemas.microsoft.com/office/drawing/2014/main" id="{1FDEA4A9-7D37-224B-988B-55B2879E8CB6}"/>
              </a:ext>
            </a:extLst>
          </p:cNvPr>
          <p:cNvSpPr>
            <a:spLocks noGrp="1"/>
          </p:cNvSpPr>
          <p:nvPr userDrawn="1">
            <p:ph type="ctrTitle" hasCustomPrompt="1"/>
          </p:nvPr>
        </p:nvSpPr>
        <p:spPr>
          <a:xfrm>
            <a:off x="1219200" y="1887490"/>
            <a:ext cx="5582652" cy="1078262"/>
          </a:xfrm>
        </p:spPr>
        <p:txBody>
          <a:bodyPr>
            <a:noAutofit/>
          </a:bodyPr>
          <a:lstStyle>
            <a:lvl1pPr>
              <a:defRPr sz="6000"/>
            </a:lvl1pPr>
          </a:lstStyle>
          <a:p>
            <a:r>
              <a:rPr lang="en-US"/>
              <a:t>Thank you</a:t>
            </a:r>
          </a:p>
        </p:txBody>
      </p:sp>
      <p:pic>
        <p:nvPicPr>
          <p:cNvPr id="33" name="Picture 32">
            <a:extLst>
              <a:ext uri="{FF2B5EF4-FFF2-40B4-BE49-F238E27FC236}">
                <a16:creationId xmlns:a16="http://schemas.microsoft.com/office/drawing/2014/main" id="{5B035CE6-43FF-944E-A9C4-8AB87E8081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2369" y="228371"/>
            <a:ext cx="2025315" cy="911940"/>
          </a:xfrm>
          <a:prstGeom prst="rect">
            <a:avLst/>
          </a:prstGeom>
        </p:spPr>
      </p:pic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E66F78A-F643-F64B-A208-E625F680759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221793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AA6B72-D286-A84D-A944-E84B7A48BB2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/>
          <a:p>
            <a:fld id="{97033E4B-E3EB-3D46-B2D8-3159663620FA}" type="slidenum">
              <a:rPr lang="en-US" smtClean="0"/>
              <a:t>‹#›</a:t>
            </a:fld>
            <a:endParaRPr lang="en-US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941F6AC7-BD0D-6047-8D58-3BB5AA015113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8C88CDF9-34F5-7C4F-9576-0121E06E124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8917F51-C2BD-2041-BD9C-723045EB0732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57215F3D-71E9-DC42-9643-CC837E16532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C49BD97B-5D82-6041-A6B7-1455CCEEEEF0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57FF3D03-9C74-6644-91E6-C9195014614E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A11D9CF5-1D92-B64F-8C97-3B5F602E2EBD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62912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D9A6F3B-C34E-6A49-A4DF-7F791974B589}"/>
              </a:ext>
            </a:extLst>
          </p:cNvPr>
          <p:cNvSpPr/>
          <p:nvPr userDrawn="1"/>
        </p:nvSpPr>
        <p:spPr>
          <a:xfrm>
            <a:off x="902368" y="1294414"/>
            <a:ext cx="11289632" cy="382260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ED34E941-7BF0-CC44-B1FC-290810DB0B3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13311" y="1561332"/>
            <a:ext cx="5194433" cy="1826339"/>
          </a:xfrm>
        </p:spPr>
        <p:txBody>
          <a:bodyPr anchor="b">
            <a:noAutofit/>
          </a:bodyPr>
          <a:lstStyle>
            <a:lvl1pPr algn="l"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44FE5CAA-8276-BB47-A6BE-E7BCEDF4663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1" y="3766863"/>
            <a:ext cx="5194433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E6149CFD-A991-6645-B261-9B7968C49A5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118684" y="233915"/>
            <a:ext cx="5073316" cy="5943600"/>
          </a:xfrm>
          <a:custGeom>
            <a:avLst/>
            <a:gdLst>
              <a:gd name="connsiteX0" fmla="*/ 2971800 w 5073316"/>
              <a:gd name="connsiteY0" fmla="*/ 0 h 5943600"/>
              <a:gd name="connsiteX1" fmla="*/ 5073180 w 5073316"/>
              <a:gd name="connsiteY1" fmla="*/ 870420 h 5943600"/>
              <a:gd name="connsiteX2" fmla="*/ 5073316 w 5073316"/>
              <a:gd name="connsiteY2" fmla="*/ 870570 h 5943600"/>
              <a:gd name="connsiteX3" fmla="*/ 5073316 w 5073316"/>
              <a:gd name="connsiteY3" fmla="*/ 5073031 h 5943600"/>
              <a:gd name="connsiteX4" fmla="*/ 5073180 w 5073316"/>
              <a:gd name="connsiteY4" fmla="*/ 5073180 h 5943600"/>
              <a:gd name="connsiteX5" fmla="*/ 2971800 w 5073316"/>
              <a:gd name="connsiteY5" fmla="*/ 5943600 h 5943600"/>
              <a:gd name="connsiteX6" fmla="*/ 0 w 5073316"/>
              <a:gd name="connsiteY6" fmla="*/ 2971800 h 5943600"/>
              <a:gd name="connsiteX7" fmla="*/ 2971800 w 5073316"/>
              <a:gd name="connsiteY7" fmla="*/ 0 h 594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5073316" h="5943600">
                <a:moveTo>
                  <a:pt x="2971800" y="0"/>
                </a:moveTo>
                <a:cubicBezTo>
                  <a:pt x="3792440" y="0"/>
                  <a:pt x="4535390" y="332630"/>
                  <a:pt x="5073180" y="870420"/>
                </a:cubicBezTo>
                <a:lnTo>
                  <a:pt x="5073316" y="870570"/>
                </a:lnTo>
                <a:lnTo>
                  <a:pt x="5073316" y="5073031"/>
                </a:lnTo>
                <a:lnTo>
                  <a:pt x="5073180" y="5073180"/>
                </a:lnTo>
                <a:cubicBezTo>
                  <a:pt x="4535390" y="5610970"/>
                  <a:pt x="3792440" y="5943600"/>
                  <a:pt x="2971800" y="5943600"/>
                </a:cubicBezTo>
                <a:cubicBezTo>
                  <a:pt x="1330520" y="5943600"/>
                  <a:pt x="0" y="4613080"/>
                  <a:pt x="0" y="2971800"/>
                </a:cubicBezTo>
                <a:cubicBezTo>
                  <a:pt x="0" y="1330520"/>
                  <a:pt x="1330520" y="0"/>
                  <a:pt x="2971800" y="0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40D5A1B1-5A06-7449-9F8B-2AC619713D56}"/>
              </a:ext>
            </a:extLst>
          </p:cNvPr>
          <p:cNvGrpSpPr/>
          <p:nvPr userDrawn="1"/>
        </p:nvGrpSpPr>
        <p:grpSpPr>
          <a:xfrm>
            <a:off x="0" y="5020349"/>
            <a:ext cx="12192000" cy="1837653"/>
            <a:chOff x="0" y="5020348"/>
            <a:chExt cx="12192000" cy="1837653"/>
          </a:xfrm>
        </p:grpSpPr>
        <p:sp>
          <p:nvSpPr>
            <p:cNvPr id="28" name="Freeform 27">
              <a:extLst>
                <a:ext uri="{FF2B5EF4-FFF2-40B4-BE49-F238E27FC236}">
                  <a16:creationId xmlns:a16="http://schemas.microsoft.com/office/drawing/2014/main" id="{DC5DA7FC-1FE3-5B43-8327-D282FDD09C73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A1F3840B-5D7E-874C-801B-092B1FEEA293}"/>
                </a:ext>
              </a:extLst>
            </p:cNvPr>
            <p:cNvSpPr/>
            <p:nvPr userDrawn="1"/>
          </p:nvSpPr>
          <p:spPr>
            <a:xfrm>
              <a:off x="0" y="5020348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149A0B9A-A772-E642-AE7A-98E1DE49C3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3274134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" name="Group 9">
            <a:extLst>
              <a:ext uri="{FF2B5EF4-FFF2-40B4-BE49-F238E27FC236}">
                <a16:creationId xmlns:a16="http://schemas.microsoft.com/office/drawing/2014/main" id="{DDC3CD93-97E1-7841-BA56-F8F6C83C60A6}"/>
              </a:ext>
            </a:extLst>
          </p:cNvPr>
          <p:cNvGrpSpPr/>
          <p:nvPr userDrawn="1"/>
        </p:nvGrpSpPr>
        <p:grpSpPr>
          <a:xfrm>
            <a:off x="0" y="5020348"/>
            <a:ext cx="12192000" cy="1837653"/>
            <a:chOff x="0" y="5020347"/>
            <a:chExt cx="12192000" cy="1837653"/>
          </a:xfrm>
        </p:grpSpPr>
        <p:sp>
          <p:nvSpPr>
            <p:cNvPr id="26" name="Freeform 25">
              <a:extLst>
                <a:ext uri="{FF2B5EF4-FFF2-40B4-BE49-F238E27FC236}">
                  <a16:creationId xmlns:a16="http://schemas.microsoft.com/office/drawing/2014/main" id="{9182F98D-6C3C-644C-B1B6-12DCD5B674F4}"/>
                </a:ext>
              </a:extLst>
            </p:cNvPr>
            <p:cNvSpPr/>
            <p:nvPr userDrawn="1"/>
          </p:nvSpPr>
          <p:spPr>
            <a:xfrm>
              <a:off x="1" y="5100270"/>
              <a:ext cx="7111369" cy="1757730"/>
            </a:xfrm>
            <a:custGeom>
              <a:avLst/>
              <a:gdLst>
                <a:gd name="connsiteX0" fmla="*/ 772954 w 7111369"/>
                <a:gd name="connsiteY0" fmla="*/ 2778 h 1757730"/>
                <a:gd name="connsiteX1" fmla="*/ 3590934 w 7111369"/>
                <a:gd name="connsiteY1" fmla="*/ 566046 h 1757730"/>
                <a:gd name="connsiteX2" fmla="*/ 6700767 w 7111369"/>
                <a:gd name="connsiteY2" fmla="*/ 1636882 h 1757730"/>
                <a:gd name="connsiteX3" fmla="*/ 7111369 w 7111369"/>
                <a:gd name="connsiteY3" fmla="*/ 1757730 h 1757730"/>
                <a:gd name="connsiteX4" fmla="*/ 0 w 7111369"/>
                <a:gd name="connsiteY4" fmla="*/ 1757730 h 1757730"/>
                <a:gd name="connsiteX5" fmla="*/ 0 w 7111369"/>
                <a:gd name="connsiteY5" fmla="*/ 25690 h 1757730"/>
                <a:gd name="connsiteX6" fmla="*/ 2197 w 7111369"/>
                <a:gd name="connsiteY6" fmla="*/ 25414 h 1757730"/>
                <a:gd name="connsiteX7" fmla="*/ 341773 w 7111369"/>
                <a:gd name="connsiteY7" fmla="*/ 3976 h 1757730"/>
                <a:gd name="connsiteX8" fmla="*/ 772954 w 7111369"/>
                <a:gd name="connsiteY8" fmla="*/ 2778 h 17577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7111369" h="1757730">
                  <a:moveTo>
                    <a:pt x="772954" y="2778"/>
                  </a:moveTo>
                  <a:cubicBezTo>
                    <a:pt x="1769038" y="30799"/>
                    <a:pt x="2696750" y="267531"/>
                    <a:pt x="3590934" y="566046"/>
                  </a:cubicBezTo>
                  <a:cubicBezTo>
                    <a:pt x="4684008" y="930921"/>
                    <a:pt x="5690778" y="1324625"/>
                    <a:pt x="6700767" y="1636882"/>
                  </a:cubicBezTo>
                  <a:lnTo>
                    <a:pt x="7111369" y="1757730"/>
                  </a:lnTo>
                  <a:lnTo>
                    <a:pt x="0" y="1757730"/>
                  </a:lnTo>
                  <a:lnTo>
                    <a:pt x="0" y="25690"/>
                  </a:lnTo>
                  <a:lnTo>
                    <a:pt x="2197" y="25414"/>
                  </a:lnTo>
                  <a:cubicBezTo>
                    <a:pt x="114653" y="14905"/>
                    <a:pt x="227801" y="7857"/>
                    <a:pt x="341773" y="3976"/>
                  </a:cubicBezTo>
                  <a:cubicBezTo>
                    <a:pt x="486963" y="-968"/>
                    <a:pt x="630656" y="-1224"/>
                    <a:pt x="772954" y="277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B3381D5F-A585-D64D-9E0F-E7BEB12BA5B8}"/>
                </a:ext>
              </a:extLst>
            </p:cNvPr>
            <p:cNvSpPr/>
            <p:nvPr userDrawn="1"/>
          </p:nvSpPr>
          <p:spPr>
            <a:xfrm>
              <a:off x="0" y="5038944"/>
              <a:ext cx="12192000" cy="1819056"/>
            </a:xfrm>
            <a:custGeom>
              <a:avLst/>
              <a:gdLst>
                <a:gd name="connsiteX0" fmla="*/ 12192000 w 12192000"/>
                <a:gd name="connsiteY0" fmla="*/ 1590347 h 1819056"/>
                <a:gd name="connsiteX1" fmla="*/ 12188220 w 12192000"/>
                <a:gd name="connsiteY1" fmla="*/ 1819056 h 1819056"/>
                <a:gd name="connsiteX2" fmla="*/ 11380834 w 12192000"/>
                <a:gd name="connsiteY2" fmla="*/ 1819056 h 1819056"/>
                <a:gd name="connsiteX3" fmla="*/ 11595183 w 12192000"/>
                <a:gd name="connsiteY3" fmla="*/ 1770580 h 1819056"/>
                <a:gd name="connsiteX4" fmla="*/ 12192000 w 12192000"/>
                <a:gd name="connsiteY4" fmla="*/ 1590347 h 1819056"/>
                <a:gd name="connsiteX5" fmla="*/ 758403 w 12192000"/>
                <a:gd name="connsiteY5" fmla="*/ 2043 h 1819056"/>
                <a:gd name="connsiteX6" fmla="*/ 3624304 w 12192000"/>
                <a:gd name="connsiteY6" fmla="*/ 526182 h 1819056"/>
                <a:gd name="connsiteX7" fmla="*/ 7255331 w 12192000"/>
                <a:gd name="connsiteY7" fmla="*/ 1648964 h 1819056"/>
                <a:gd name="connsiteX8" fmla="*/ 7859208 w 12192000"/>
                <a:gd name="connsiteY8" fmla="*/ 1790989 h 1819056"/>
                <a:gd name="connsiteX9" fmla="*/ 8008547 w 12192000"/>
                <a:gd name="connsiteY9" fmla="*/ 1819056 h 1819056"/>
                <a:gd name="connsiteX10" fmla="*/ 6697152 w 12192000"/>
                <a:gd name="connsiteY10" fmla="*/ 1819056 h 1819056"/>
                <a:gd name="connsiteX11" fmla="*/ 6692612 w 12192000"/>
                <a:gd name="connsiteY11" fmla="*/ 1817638 h 1819056"/>
                <a:gd name="connsiteX12" fmla="*/ 3598861 w 12192000"/>
                <a:gd name="connsiteY12" fmla="*/ 695028 h 1819056"/>
                <a:gd name="connsiteX13" fmla="*/ 357248 w 12192000"/>
                <a:gd name="connsiteY13" fmla="*/ 79163 h 1819056"/>
                <a:gd name="connsiteX14" fmla="*/ 17144 w 12192000"/>
                <a:gd name="connsiteY14" fmla="*/ 95022 h 1819056"/>
                <a:gd name="connsiteX15" fmla="*/ 0 w 12192000"/>
                <a:gd name="connsiteY15" fmla="*/ 96893 h 1819056"/>
                <a:gd name="connsiteX16" fmla="*/ 0 w 12192000"/>
                <a:gd name="connsiteY16" fmla="*/ 29948 h 1819056"/>
                <a:gd name="connsiteX17" fmla="*/ 15757 w 12192000"/>
                <a:gd name="connsiteY17" fmla="*/ 27869 h 1819056"/>
                <a:gd name="connsiteX18" fmla="*/ 362684 w 12192000"/>
                <a:gd name="connsiteY18" fmla="*/ 4345 h 1819056"/>
                <a:gd name="connsiteX19" fmla="*/ 758403 w 12192000"/>
                <a:gd name="connsiteY19" fmla="*/ 2043 h 181905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2192000" h="1819056">
                  <a:moveTo>
                    <a:pt x="12192000" y="1590347"/>
                  </a:moveTo>
                  <a:lnTo>
                    <a:pt x="12188220" y="1819056"/>
                  </a:lnTo>
                  <a:lnTo>
                    <a:pt x="11380834" y="1819056"/>
                  </a:lnTo>
                  <a:lnTo>
                    <a:pt x="11595183" y="1770580"/>
                  </a:lnTo>
                  <a:cubicBezTo>
                    <a:pt x="11796947" y="1720044"/>
                    <a:pt x="11996151" y="1660154"/>
                    <a:pt x="12192000" y="1590347"/>
                  </a:cubicBezTo>
                  <a:close/>
                  <a:moveTo>
                    <a:pt x="758403" y="2043"/>
                  </a:moveTo>
                  <a:cubicBezTo>
                    <a:pt x="1686489" y="25125"/>
                    <a:pt x="2647016" y="241445"/>
                    <a:pt x="3624304" y="526182"/>
                  </a:cubicBezTo>
                  <a:cubicBezTo>
                    <a:pt x="4845769" y="882033"/>
                    <a:pt x="6018540" y="1319108"/>
                    <a:pt x="7255331" y="1648964"/>
                  </a:cubicBezTo>
                  <a:cubicBezTo>
                    <a:pt x="7453869" y="1701922"/>
                    <a:pt x="7655427" y="1749451"/>
                    <a:pt x="7859208" y="1790989"/>
                  </a:cubicBezTo>
                  <a:lnTo>
                    <a:pt x="8008547" y="1819056"/>
                  </a:lnTo>
                  <a:lnTo>
                    <a:pt x="6697152" y="1819056"/>
                  </a:lnTo>
                  <a:lnTo>
                    <a:pt x="6692612" y="1817638"/>
                  </a:lnTo>
                  <a:cubicBezTo>
                    <a:pt x="5687256" y="1488590"/>
                    <a:pt x="4686470" y="1078099"/>
                    <a:pt x="3598861" y="695028"/>
                  </a:cubicBezTo>
                  <a:cubicBezTo>
                    <a:pt x="2581993" y="336916"/>
                    <a:pt x="1520053" y="58744"/>
                    <a:pt x="357248" y="79163"/>
                  </a:cubicBezTo>
                  <a:cubicBezTo>
                    <a:pt x="243154" y="81169"/>
                    <a:pt x="129832" y="86358"/>
                    <a:pt x="17144" y="95022"/>
                  </a:cubicBezTo>
                  <a:lnTo>
                    <a:pt x="0" y="96893"/>
                  </a:lnTo>
                  <a:lnTo>
                    <a:pt x="0" y="29948"/>
                  </a:lnTo>
                  <a:lnTo>
                    <a:pt x="15757" y="27869"/>
                  </a:lnTo>
                  <a:cubicBezTo>
                    <a:pt x="130823" y="16482"/>
                    <a:pt x="246476" y="8725"/>
                    <a:pt x="362684" y="4345"/>
                  </a:cubicBezTo>
                  <a:cubicBezTo>
                    <a:pt x="493898" y="-608"/>
                    <a:pt x="625820" y="-1255"/>
                    <a:pt x="758403" y="2043"/>
                  </a:cubicBezTo>
                  <a:close/>
                </a:path>
              </a:pathLst>
            </a:custGeom>
            <a:gradFill>
              <a:gsLst>
                <a:gs pos="100000">
                  <a:schemeClr val="accent3">
                    <a:lumMod val="75000"/>
                  </a:schemeClr>
                </a:gs>
                <a:gs pos="15000">
                  <a:schemeClr val="accent3"/>
                </a:gs>
              </a:gsLst>
              <a:lin ang="0" scaled="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sp>
          <p:nvSpPr>
            <p:cNvPr id="15" name="Freeform 14">
              <a:extLst>
                <a:ext uri="{FF2B5EF4-FFF2-40B4-BE49-F238E27FC236}">
                  <a16:creationId xmlns:a16="http://schemas.microsoft.com/office/drawing/2014/main" id="{09AD945E-4C3E-8449-8EEE-312F405896BC}"/>
                </a:ext>
              </a:extLst>
            </p:cNvPr>
            <p:cNvSpPr/>
            <p:nvPr userDrawn="1"/>
          </p:nvSpPr>
          <p:spPr>
            <a:xfrm>
              <a:off x="0" y="5020347"/>
              <a:ext cx="12192000" cy="1837653"/>
            </a:xfrm>
            <a:custGeom>
              <a:avLst/>
              <a:gdLst>
                <a:gd name="connsiteX0" fmla="*/ 631978 w 12192000"/>
                <a:gd name="connsiteY0" fmla="*/ 192 h 1837653"/>
                <a:gd name="connsiteX1" fmla="*/ 1503520 w 12192000"/>
                <a:gd name="connsiteY1" fmla="*/ 46905 h 1837653"/>
                <a:gd name="connsiteX2" fmla="*/ 7786904 w 12192000"/>
                <a:gd name="connsiteY2" fmla="*/ 1473930 h 1837653"/>
                <a:gd name="connsiteX3" fmla="*/ 12192000 w 12192000"/>
                <a:gd name="connsiteY3" fmla="*/ 1008678 h 1837653"/>
                <a:gd name="connsiteX4" fmla="*/ 12192000 w 12192000"/>
                <a:gd name="connsiteY4" fmla="*/ 1399189 h 1837653"/>
                <a:gd name="connsiteX5" fmla="*/ 12192000 w 12192000"/>
                <a:gd name="connsiteY5" fmla="*/ 1684971 h 1837653"/>
                <a:gd name="connsiteX6" fmla="*/ 12192000 w 12192000"/>
                <a:gd name="connsiteY6" fmla="*/ 1837653 h 1837653"/>
                <a:gd name="connsiteX7" fmla="*/ 7111369 w 12192000"/>
                <a:gd name="connsiteY7" fmla="*/ 1837653 h 1837653"/>
                <a:gd name="connsiteX8" fmla="*/ 6700767 w 12192000"/>
                <a:gd name="connsiteY8" fmla="*/ 1716805 h 1837653"/>
                <a:gd name="connsiteX9" fmla="*/ 3590934 w 12192000"/>
                <a:gd name="connsiteY9" fmla="*/ 645969 h 1837653"/>
                <a:gd name="connsiteX10" fmla="*/ 341773 w 12192000"/>
                <a:gd name="connsiteY10" fmla="*/ 83899 h 1837653"/>
                <a:gd name="connsiteX11" fmla="*/ 2197 w 12192000"/>
                <a:gd name="connsiteY11" fmla="*/ 105337 h 1837653"/>
                <a:gd name="connsiteX12" fmla="*/ 0 w 12192000"/>
                <a:gd name="connsiteY12" fmla="*/ 105613 h 1837653"/>
                <a:gd name="connsiteX13" fmla="*/ 0 w 12192000"/>
                <a:gd name="connsiteY13" fmla="*/ 38154 h 1837653"/>
                <a:gd name="connsiteX14" fmla="*/ 346000 w 12192000"/>
                <a:gd name="connsiteY14" fmla="*/ 8933 h 1837653"/>
                <a:gd name="connsiteX15" fmla="*/ 631978 w 12192000"/>
                <a:gd name="connsiteY15" fmla="*/ 192 h 18376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12192000" h="1837653">
                  <a:moveTo>
                    <a:pt x="631978" y="192"/>
                  </a:moveTo>
                  <a:cubicBezTo>
                    <a:pt x="919158" y="-2016"/>
                    <a:pt x="1209873" y="14922"/>
                    <a:pt x="1503520" y="46905"/>
                  </a:cubicBezTo>
                  <a:cubicBezTo>
                    <a:pt x="3549714" y="172355"/>
                    <a:pt x="5706358" y="1115591"/>
                    <a:pt x="7786904" y="1473930"/>
                  </a:cubicBezTo>
                  <a:cubicBezTo>
                    <a:pt x="9204661" y="1718045"/>
                    <a:pt x="10875183" y="1584536"/>
                    <a:pt x="12192000" y="1008678"/>
                  </a:cubicBezTo>
                  <a:lnTo>
                    <a:pt x="12192000" y="1399189"/>
                  </a:lnTo>
                  <a:lnTo>
                    <a:pt x="12192000" y="1684971"/>
                  </a:lnTo>
                  <a:lnTo>
                    <a:pt x="12192000" y="1837653"/>
                  </a:lnTo>
                  <a:lnTo>
                    <a:pt x="7111369" y="1837653"/>
                  </a:lnTo>
                  <a:lnTo>
                    <a:pt x="6700767" y="1716805"/>
                  </a:lnTo>
                  <a:cubicBezTo>
                    <a:pt x="5690778" y="1404548"/>
                    <a:pt x="4684008" y="1010844"/>
                    <a:pt x="3590934" y="645969"/>
                  </a:cubicBezTo>
                  <a:cubicBezTo>
                    <a:pt x="2569009" y="304809"/>
                    <a:pt x="1503293" y="44345"/>
                    <a:pt x="341773" y="83899"/>
                  </a:cubicBezTo>
                  <a:cubicBezTo>
                    <a:pt x="227801" y="87780"/>
                    <a:pt x="114653" y="94828"/>
                    <a:pt x="2197" y="105337"/>
                  </a:cubicBezTo>
                  <a:lnTo>
                    <a:pt x="0" y="105613"/>
                  </a:lnTo>
                  <a:lnTo>
                    <a:pt x="0" y="38154"/>
                  </a:lnTo>
                  <a:lnTo>
                    <a:pt x="346000" y="8933"/>
                  </a:lnTo>
                  <a:cubicBezTo>
                    <a:pt x="440918" y="3791"/>
                    <a:pt x="536252" y="928"/>
                    <a:pt x="631978" y="192"/>
                  </a:cubicBezTo>
                  <a:close/>
                </a:path>
              </a:pathLst>
            </a:cu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800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77BF3E23-4775-F24A-AA8A-E0D6154230A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13288" y="5563587"/>
              <a:ext cx="2025315" cy="911940"/>
            </a:xfrm>
            <a:prstGeom prst="rect">
              <a:avLst/>
            </a:prstGeom>
          </p:spPr>
        </p:pic>
      </p:grpSp>
      <p:sp>
        <p:nvSpPr>
          <p:cNvPr id="11" name="Title 10">
            <a:extLst>
              <a:ext uri="{FF2B5EF4-FFF2-40B4-BE49-F238E27FC236}">
                <a16:creationId xmlns:a16="http://schemas.microsoft.com/office/drawing/2014/main" id="{5F021924-D537-5244-8E81-B66085BADA2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310" y="701749"/>
            <a:ext cx="9365380" cy="2014679"/>
          </a:xfrm>
        </p:spPr>
        <p:txBody>
          <a:bodyPr anchor="b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0" name="Subtitle 2">
            <a:extLst>
              <a:ext uri="{FF2B5EF4-FFF2-40B4-BE49-F238E27FC236}">
                <a16:creationId xmlns:a16="http://schemas.microsoft.com/office/drawing/2014/main" id="{1DC5B24F-A901-D143-B12C-A9266B7916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413310" y="3081640"/>
            <a:ext cx="9365380" cy="986569"/>
          </a:xfrm>
        </p:spPr>
        <p:txBody>
          <a:bodyPr/>
          <a:lstStyle>
            <a:lvl1pPr marL="0" indent="0" algn="l">
              <a:buNone/>
              <a:defRPr sz="2400">
                <a:solidFill>
                  <a:schemeClr val="tx1"/>
                </a:solidFill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04204704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3_Quot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BFE89406-36E4-A648-8101-E8AD8858AAD2}"/>
              </a:ext>
            </a:extLst>
          </p:cNvPr>
          <p:cNvSpPr/>
          <p:nvPr userDrawn="1"/>
        </p:nvSpPr>
        <p:spPr>
          <a:xfrm>
            <a:off x="1427357" y="1387869"/>
            <a:ext cx="10155043" cy="350693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7CC80D5-AE56-AA43-851E-51FC20EB08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27357" y="1377235"/>
            <a:ext cx="10155043" cy="3506936"/>
          </a:xfrm>
        </p:spPr>
        <p:txBody>
          <a:bodyPr lIns="274320" tIns="274320" rIns="274320" bIns="2743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1A6A5A7-45FB-5843-873D-829CB39FBAB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27356" y="5007456"/>
            <a:ext cx="10155044" cy="82519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59463F-FFB8-A84A-9524-539F18945B6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839200" y="6356351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60000"/>
                    <a:lumOff val="40000"/>
                  </a:schemeClr>
                </a:solidFill>
              </a:defRPr>
            </a:lvl1pPr>
          </a:lstStyle>
          <a:p>
            <a:fld id="{97033E4B-E3EB-3D46-B2D8-3159663620FA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697C1C4E-56C8-5B41-A8ED-C8AB720553F4}"/>
              </a:ext>
            </a:extLst>
          </p:cNvPr>
          <p:cNvCxnSpPr>
            <a:cxnSpLocks/>
          </p:cNvCxnSpPr>
          <p:nvPr userDrawn="1"/>
        </p:nvCxnSpPr>
        <p:spPr>
          <a:xfrm>
            <a:off x="609600" y="6335713"/>
            <a:ext cx="10972800" cy="0"/>
          </a:xfrm>
          <a:prstGeom prst="line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51CA70-2A74-4144-AFE2-25543D5CF91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35A1BE69-25EB-BA40-8C7D-6762A3F21FDC}"/>
              </a:ext>
            </a:extLst>
          </p:cNvPr>
          <p:cNvGrpSpPr/>
          <p:nvPr userDrawn="1"/>
        </p:nvGrpSpPr>
        <p:grpSpPr>
          <a:xfrm>
            <a:off x="7191543" y="1"/>
            <a:ext cx="5000459" cy="1425992"/>
            <a:chOff x="7191542" y="1"/>
            <a:chExt cx="5000459" cy="1425992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BD39D1E9-DD27-FE4B-BBDC-DB18B098F3B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264317" y="228371"/>
              <a:ext cx="2025315" cy="911940"/>
            </a:xfrm>
            <a:prstGeom prst="rect">
              <a:avLst/>
            </a:prstGeom>
          </p:spPr>
        </p:pic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34C7931B-CE9E-174F-8E19-20CBF92C9CA4}"/>
                </a:ext>
              </a:extLst>
            </p:cNvPr>
            <p:cNvGrpSpPr/>
            <p:nvPr userDrawn="1"/>
          </p:nvGrpSpPr>
          <p:grpSpPr>
            <a:xfrm>
              <a:off x="7191542" y="1"/>
              <a:ext cx="5000459" cy="1425992"/>
              <a:chOff x="7186272" y="0"/>
              <a:chExt cx="5005729" cy="1427495"/>
            </a:xfrm>
          </p:grpSpPr>
          <p:sp>
            <p:nvSpPr>
              <p:cNvPr id="36" name="Freeform 35">
                <a:extLst>
                  <a:ext uri="{FF2B5EF4-FFF2-40B4-BE49-F238E27FC236}">
                    <a16:creationId xmlns:a16="http://schemas.microsoft.com/office/drawing/2014/main" id="{907C613D-61B3-FF4C-9146-8B557EE08AE8}"/>
                  </a:ext>
                </a:extLst>
              </p:cNvPr>
              <p:cNvSpPr/>
              <p:nvPr userDrawn="1"/>
            </p:nvSpPr>
            <p:spPr>
              <a:xfrm>
                <a:off x="7186272" y="0"/>
                <a:ext cx="5005729" cy="1427495"/>
              </a:xfrm>
              <a:custGeom>
                <a:avLst/>
                <a:gdLst>
                  <a:gd name="connsiteX0" fmla="*/ 0 w 5005729"/>
                  <a:gd name="connsiteY0" fmla="*/ 0 h 1427495"/>
                  <a:gd name="connsiteX1" fmla="*/ 165533 w 5005729"/>
                  <a:gd name="connsiteY1" fmla="*/ 0 h 1427495"/>
                  <a:gd name="connsiteX2" fmla="*/ 215699 w 5005729"/>
                  <a:gd name="connsiteY2" fmla="*/ 35841 h 1427495"/>
                  <a:gd name="connsiteX3" fmla="*/ 876476 w 5005729"/>
                  <a:gd name="connsiteY3" fmla="*/ 498295 h 1427495"/>
                  <a:gd name="connsiteX4" fmla="*/ 1566628 w 5005729"/>
                  <a:gd name="connsiteY4" fmla="*/ 910605 h 1427495"/>
                  <a:gd name="connsiteX5" fmla="*/ 2307294 w 5005729"/>
                  <a:gd name="connsiteY5" fmla="*/ 1218776 h 1427495"/>
                  <a:gd name="connsiteX6" fmla="*/ 2696502 w 5005729"/>
                  <a:gd name="connsiteY6" fmla="*/ 1318134 h 1427495"/>
                  <a:gd name="connsiteX7" fmla="*/ 3094217 w 5005729"/>
                  <a:gd name="connsiteY7" fmla="*/ 1375517 h 1427495"/>
                  <a:gd name="connsiteX8" fmla="*/ 3496186 w 5005729"/>
                  <a:gd name="connsiteY8" fmla="*/ 1391457 h 1427495"/>
                  <a:gd name="connsiteX9" fmla="*/ 3596679 w 5005729"/>
                  <a:gd name="connsiteY9" fmla="*/ 1388800 h 1427495"/>
                  <a:gd name="connsiteX10" fmla="*/ 3647191 w 5005729"/>
                  <a:gd name="connsiteY10" fmla="*/ 1387207 h 1427495"/>
                  <a:gd name="connsiteX11" fmla="*/ 3697703 w 5005729"/>
                  <a:gd name="connsiteY11" fmla="*/ 1384018 h 1427495"/>
                  <a:gd name="connsiteX12" fmla="*/ 3798195 w 5005729"/>
                  <a:gd name="connsiteY12" fmla="*/ 1377643 h 1427495"/>
                  <a:gd name="connsiteX13" fmla="*/ 3898687 w 5005729"/>
                  <a:gd name="connsiteY13" fmla="*/ 1367547 h 1427495"/>
                  <a:gd name="connsiteX14" fmla="*/ 3948667 w 5005729"/>
                  <a:gd name="connsiteY14" fmla="*/ 1362234 h 1427495"/>
                  <a:gd name="connsiteX15" fmla="*/ 3998648 w 5005729"/>
                  <a:gd name="connsiteY15" fmla="*/ 1355327 h 1427495"/>
                  <a:gd name="connsiteX16" fmla="*/ 4098609 w 5005729"/>
                  <a:gd name="connsiteY16" fmla="*/ 1341512 h 1427495"/>
                  <a:gd name="connsiteX17" fmla="*/ 4198037 w 5005729"/>
                  <a:gd name="connsiteY17" fmla="*/ 1324510 h 1427495"/>
                  <a:gd name="connsiteX18" fmla="*/ 4223027 w 5005729"/>
                  <a:gd name="connsiteY18" fmla="*/ 1320259 h 1427495"/>
                  <a:gd name="connsiteX19" fmla="*/ 4248017 w 5005729"/>
                  <a:gd name="connsiteY19" fmla="*/ 1315477 h 1427495"/>
                  <a:gd name="connsiteX20" fmla="*/ 4297466 w 5005729"/>
                  <a:gd name="connsiteY20" fmla="*/ 1305382 h 1427495"/>
                  <a:gd name="connsiteX21" fmla="*/ 4346915 w 5005729"/>
                  <a:gd name="connsiteY21" fmla="*/ 1295287 h 1427495"/>
                  <a:gd name="connsiteX22" fmla="*/ 4371374 w 5005729"/>
                  <a:gd name="connsiteY22" fmla="*/ 1289974 h 1427495"/>
                  <a:gd name="connsiteX23" fmla="*/ 4395831 w 5005729"/>
                  <a:gd name="connsiteY23" fmla="*/ 1284129 h 1427495"/>
                  <a:gd name="connsiteX24" fmla="*/ 4494197 w 5005729"/>
                  <a:gd name="connsiteY24" fmla="*/ 1260751 h 1427495"/>
                  <a:gd name="connsiteX25" fmla="*/ 4506426 w 5005729"/>
                  <a:gd name="connsiteY25" fmla="*/ 1258094 h 1427495"/>
                  <a:gd name="connsiteX26" fmla="*/ 4518656 w 5005729"/>
                  <a:gd name="connsiteY26" fmla="*/ 1254906 h 1427495"/>
                  <a:gd name="connsiteX27" fmla="*/ 4543113 w 5005729"/>
                  <a:gd name="connsiteY27" fmla="*/ 1248530 h 1427495"/>
                  <a:gd name="connsiteX28" fmla="*/ 4592031 w 5005729"/>
                  <a:gd name="connsiteY28" fmla="*/ 1235247 h 1427495"/>
                  <a:gd name="connsiteX29" fmla="*/ 4640948 w 5005729"/>
                  <a:gd name="connsiteY29" fmla="*/ 1221963 h 1427495"/>
                  <a:gd name="connsiteX30" fmla="*/ 4689332 w 5005729"/>
                  <a:gd name="connsiteY30" fmla="*/ 1207618 h 1427495"/>
                  <a:gd name="connsiteX31" fmla="*/ 4881644 w 5005729"/>
                  <a:gd name="connsiteY31" fmla="*/ 1145934 h 1427495"/>
                  <a:gd name="connsiteX32" fmla="*/ 5005729 w 5005729"/>
                  <a:gd name="connsiteY32" fmla="*/ 1100085 h 1427495"/>
                  <a:gd name="connsiteX33" fmla="*/ 5005729 w 5005729"/>
                  <a:gd name="connsiteY33" fmla="*/ 1108460 h 1427495"/>
                  <a:gd name="connsiteX34" fmla="*/ 4884859 w 5005729"/>
                  <a:gd name="connsiteY34" fmla="*/ 1155423 h 1427495"/>
                  <a:gd name="connsiteX35" fmla="*/ 4693055 w 5005729"/>
                  <a:gd name="connsiteY35" fmla="*/ 1220370 h 1427495"/>
                  <a:gd name="connsiteX36" fmla="*/ 4644670 w 5005729"/>
                  <a:gd name="connsiteY36" fmla="*/ 1235778 h 1427495"/>
                  <a:gd name="connsiteX37" fmla="*/ 4596284 w 5005729"/>
                  <a:gd name="connsiteY37" fmla="*/ 1250124 h 1427495"/>
                  <a:gd name="connsiteX38" fmla="*/ 4547367 w 5005729"/>
                  <a:gd name="connsiteY38" fmla="*/ 1263938 h 1427495"/>
                  <a:gd name="connsiteX39" fmla="*/ 4522910 w 5005729"/>
                  <a:gd name="connsiteY39" fmla="*/ 1270846 h 1427495"/>
                  <a:gd name="connsiteX40" fmla="*/ 4510680 w 5005729"/>
                  <a:gd name="connsiteY40" fmla="*/ 1274565 h 1427495"/>
                  <a:gd name="connsiteX41" fmla="*/ 4498451 w 5005729"/>
                  <a:gd name="connsiteY41" fmla="*/ 1277753 h 1427495"/>
                  <a:gd name="connsiteX42" fmla="*/ 4400085 w 5005729"/>
                  <a:gd name="connsiteY42" fmla="*/ 1302725 h 1427495"/>
                  <a:gd name="connsiteX43" fmla="*/ 4375626 w 5005729"/>
                  <a:gd name="connsiteY43" fmla="*/ 1309101 h 1427495"/>
                  <a:gd name="connsiteX44" fmla="*/ 4351169 w 5005729"/>
                  <a:gd name="connsiteY44" fmla="*/ 1314415 h 1427495"/>
                  <a:gd name="connsiteX45" fmla="*/ 4301720 w 5005729"/>
                  <a:gd name="connsiteY45" fmla="*/ 1325572 h 1427495"/>
                  <a:gd name="connsiteX46" fmla="*/ 4252271 w 5005729"/>
                  <a:gd name="connsiteY46" fmla="*/ 1336730 h 1427495"/>
                  <a:gd name="connsiteX47" fmla="*/ 4227281 w 5005729"/>
                  <a:gd name="connsiteY47" fmla="*/ 1342044 h 1427495"/>
                  <a:gd name="connsiteX48" fmla="*/ 4202291 w 5005729"/>
                  <a:gd name="connsiteY48" fmla="*/ 1346825 h 1427495"/>
                  <a:gd name="connsiteX49" fmla="*/ 4102862 w 5005729"/>
                  <a:gd name="connsiteY49" fmla="*/ 1365422 h 1427495"/>
                  <a:gd name="connsiteX50" fmla="*/ 4002902 w 5005729"/>
                  <a:gd name="connsiteY50" fmla="*/ 1380831 h 1427495"/>
                  <a:gd name="connsiteX51" fmla="*/ 3952921 w 5005729"/>
                  <a:gd name="connsiteY51" fmla="*/ 1388800 h 1427495"/>
                  <a:gd name="connsiteX52" fmla="*/ 3902409 w 5005729"/>
                  <a:gd name="connsiteY52" fmla="*/ 1394645 h 1427495"/>
                  <a:gd name="connsiteX53" fmla="*/ 3801917 w 5005729"/>
                  <a:gd name="connsiteY53" fmla="*/ 1406334 h 1427495"/>
                  <a:gd name="connsiteX54" fmla="*/ 3700893 w 5005729"/>
                  <a:gd name="connsiteY54" fmla="*/ 1414836 h 1427495"/>
                  <a:gd name="connsiteX55" fmla="*/ 3650381 w 5005729"/>
                  <a:gd name="connsiteY55" fmla="*/ 1419086 h 1427495"/>
                  <a:gd name="connsiteX56" fmla="*/ 3599869 w 5005729"/>
                  <a:gd name="connsiteY56" fmla="*/ 1421743 h 1427495"/>
                  <a:gd name="connsiteX57" fmla="*/ 3498313 w 5005729"/>
                  <a:gd name="connsiteY57" fmla="*/ 1425993 h 1427495"/>
                  <a:gd name="connsiteX58" fmla="*/ 3092622 w 5005729"/>
                  <a:gd name="connsiteY58" fmla="*/ 1416430 h 1427495"/>
                  <a:gd name="connsiteX59" fmla="*/ 2689590 w 5005729"/>
                  <a:gd name="connsiteY59" fmla="*/ 1364891 h 1427495"/>
                  <a:gd name="connsiteX60" fmla="*/ 2294001 w 5005729"/>
                  <a:gd name="connsiteY60" fmla="*/ 1270846 h 1427495"/>
                  <a:gd name="connsiteX61" fmla="*/ 1538448 w 5005729"/>
                  <a:gd name="connsiteY61" fmla="*/ 971177 h 1427495"/>
                  <a:gd name="connsiteX62" fmla="*/ 834471 w 5005729"/>
                  <a:gd name="connsiteY62" fmla="*/ 566305 h 1427495"/>
                  <a:gd name="connsiteX63" fmla="*/ 163459 w 5005729"/>
                  <a:gd name="connsiteY63" fmla="*/ 112750 h 142749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</a:cxnLst>
                <a:rect l="l" t="t" r="r" b="b"/>
                <a:pathLst>
                  <a:path w="5005729" h="1427495">
                    <a:moveTo>
                      <a:pt x="0" y="0"/>
                    </a:moveTo>
                    <a:lnTo>
                      <a:pt x="165533" y="0"/>
                    </a:lnTo>
                    <a:lnTo>
                      <a:pt x="215699" y="35841"/>
                    </a:lnTo>
                    <a:cubicBezTo>
                      <a:pt x="434496" y="193047"/>
                      <a:pt x="652894" y="349789"/>
                      <a:pt x="876476" y="498295"/>
                    </a:cubicBezTo>
                    <a:cubicBezTo>
                      <a:pt x="1099792" y="647067"/>
                      <a:pt x="1328957" y="787337"/>
                      <a:pt x="1566628" y="910605"/>
                    </a:cubicBezTo>
                    <a:cubicBezTo>
                      <a:pt x="1804301" y="1033874"/>
                      <a:pt x="2051544" y="1139076"/>
                      <a:pt x="2307294" y="1218776"/>
                    </a:cubicBezTo>
                    <a:cubicBezTo>
                      <a:pt x="2434903" y="1258625"/>
                      <a:pt x="2565171" y="1291568"/>
                      <a:pt x="2696502" y="1318134"/>
                    </a:cubicBezTo>
                    <a:cubicBezTo>
                      <a:pt x="2827833" y="1344700"/>
                      <a:pt x="2960760" y="1363297"/>
                      <a:pt x="3094217" y="1375517"/>
                    </a:cubicBezTo>
                    <a:cubicBezTo>
                      <a:pt x="3227675" y="1387738"/>
                      <a:pt x="3361665" y="1393051"/>
                      <a:pt x="3496186" y="1391457"/>
                    </a:cubicBezTo>
                    <a:lnTo>
                      <a:pt x="3596679" y="1388800"/>
                    </a:lnTo>
                    <a:cubicBezTo>
                      <a:pt x="3613693" y="1388269"/>
                      <a:pt x="3630176" y="1388269"/>
                      <a:pt x="3647191" y="1387207"/>
                    </a:cubicBezTo>
                    <a:lnTo>
                      <a:pt x="3697703" y="1384018"/>
                    </a:lnTo>
                    <a:lnTo>
                      <a:pt x="3798195" y="1377643"/>
                    </a:lnTo>
                    <a:lnTo>
                      <a:pt x="3898687" y="1367547"/>
                    </a:lnTo>
                    <a:lnTo>
                      <a:pt x="3948667" y="1362234"/>
                    </a:lnTo>
                    <a:lnTo>
                      <a:pt x="3998648" y="1355327"/>
                    </a:lnTo>
                    <a:cubicBezTo>
                      <a:pt x="4032146" y="1350545"/>
                      <a:pt x="4065111" y="1346294"/>
                      <a:pt x="4098609" y="1341512"/>
                    </a:cubicBezTo>
                    <a:lnTo>
                      <a:pt x="4198037" y="1324510"/>
                    </a:lnTo>
                    <a:lnTo>
                      <a:pt x="4223027" y="1320259"/>
                    </a:lnTo>
                    <a:cubicBezTo>
                      <a:pt x="4231535" y="1318665"/>
                      <a:pt x="4239511" y="1317602"/>
                      <a:pt x="4248017" y="1315477"/>
                    </a:cubicBezTo>
                    <a:lnTo>
                      <a:pt x="4297466" y="1305382"/>
                    </a:lnTo>
                    <a:lnTo>
                      <a:pt x="4346915" y="1295287"/>
                    </a:lnTo>
                    <a:lnTo>
                      <a:pt x="4371374" y="1289974"/>
                    </a:lnTo>
                    <a:cubicBezTo>
                      <a:pt x="4379349" y="1288379"/>
                      <a:pt x="4387856" y="1286254"/>
                      <a:pt x="4395831" y="1284129"/>
                    </a:cubicBezTo>
                    <a:lnTo>
                      <a:pt x="4494197" y="1260751"/>
                    </a:lnTo>
                    <a:lnTo>
                      <a:pt x="4506426" y="1258094"/>
                    </a:lnTo>
                    <a:lnTo>
                      <a:pt x="4518656" y="1254906"/>
                    </a:lnTo>
                    <a:lnTo>
                      <a:pt x="4543113" y="1248530"/>
                    </a:lnTo>
                    <a:lnTo>
                      <a:pt x="4592031" y="1235247"/>
                    </a:lnTo>
                    <a:cubicBezTo>
                      <a:pt x="4607983" y="1230996"/>
                      <a:pt x="4624465" y="1226746"/>
                      <a:pt x="4640948" y="1221963"/>
                    </a:cubicBezTo>
                    <a:lnTo>
                      <a:pt x="4689332" y="1207618"/>
                    </a:lnTo>
                    <a:cubicBezTo>
                      <a:pt x="4753935" y="1188490"/>
                      <a:pt x="4818038" y="1167901"/>
                      <a:pt x="4881644" y="1145934"/>
                    </a:cubicBezTo>
                    <a:lnTo>
                      <a:pt x="5005729" y="1100085"/>
                    </a:lnTo>
                    <a:lnTo>
                      <a:pt x="5005729" y="1108460"/>
                    </a:lnTo>
                    <a:lnTo>
                      <a:pt x="4884859" y="1155423"/>
                    </a:lnTo>
                    <a:cubicBezTo>
                      <a:pt x="4821462" y="1178495"/>
                      <a:pt x="4757524" y="1200180"/>
                      <a:pt x="4693055" y="1220370"/>
                    </a:cubicBezTo>
                    <a:lnTo>
                      <a:pt x="4644670" y="1235778"/>
                    </a:lnTo>
                    <a:cubicBezTo>
                      <a:pt x="4628719" y="1240560"/>
                      <a:pt x="4612235" y="1245342"/>
                      <a:pt x="4596284" y="1250124"/>
                    </a:cubicBezTo>
                    <a:lnTo>
                      <a:pt x="4547367" y="1263938"/>
                    </a:lnTo>
                    <a:lnTo>
                      <a:pt x="4522910" y="1270846"/>
                    </a:lnTo>
                    <a:lnTo>
                      <a:pt x="4510680" y="1274565"/>
                    </a:lnTo>
                    <a:lnTo>
                      <a:pt x="4498451" y="1277753"/>
                    </a:lnTo>
                    <a:lnTo>
                      <a:pt x="4400085" y="1302725"/>
                    </a:lnTo>
                    <a:cubicBezTo>
                      <a:pt x="4392110" y="1304851"/>
                      <a:pt x="4383602" y="1306976"/>
                      <a:pt x="4375626" y="1309101"/>
                    </a:cubicBezTo>
                    <a:lnTo>
                      <a:pt x="4351169" y="1314415"/>
                    </a:lnTo>
                    <a:lnTo>
                      <a:pt x="4301720" y="1325572"/>
                    </a:lnTo>
                    <a:lnTo>
                      <a:pt x="4252271" y="1336730"/>
                    </a:lnTo>
                    <a:cubicBezTo>
                      <a:pt x="4244295" y="1338856"/>
                      <a:pt x="4235789" y="1340450"/>
                      <a:pt x="4227281" y="1342044"/>
                    </a:cubicBezTo>
                    <a:lnTo>
                      <a:pt x="4202291" y="1346825"/>
                    </a:lnTo>
                    <a:lnTo>
                      <a:pt x="4102862" y="1365422"/>
                    </a:lnTo>
                    <a:cubicBezTo>
                      <a:pt x="4069365" y="1370735"/>
                      <a:pt x="4035867" y="1375517"/>
                      <a:pt x="4002902" y="1380831"/>
                    </a:cubicBezTo>
                    <a:lnTo>
                      <a:pt x="3952921" y="1388800"/>
                    </a:lnTo>
                    <a:lnTo>
                      <a:pt x="3902409" y="1394645"/>
                    </a:lnTo>
                    <a:lnTo>
                      <a:pt x="3801917" y="1406334"/>
                    </a:lnTo>
                    <a:lnTo>
                      <a:pt x="3700893" y="1414836"/>
                    </a:lnTo>
                    <a:lnTo>
                      <a:pt x="3650381" y="1419086"/>
                    </a:lnTo>
                    <a:cubicBezTo>
                      <a:pt x="3633367" y="1420680"/>
                      <a:pt x="3616352" y="1420680"/>
                      <a:pt x="3599869" y="1421743"/>
                    </a:cubicBezTo>
                    <a:lnTo>
                      <a:pt x="3498313" y="1425993"/>
                    </a:lnTo>
                    <a:cubicBezTo>
                      <a:pt x="3363260" y="1429713"/>
                      <a:pt x="3227675" y="1426525"/>
                      <a:pt x="3092622" y="1416430"/>
                    </a:cubicBezTo>
                    <a:cubicBezTo>
                      <a:pt x="2957569" y="1406334"/>
                      <a:pt x="2823048" y="1389863"/>
                      <a:pt x="2689590" y="1364891"/>
                    </a:cubicBezTo>
                    <a:cubicBezTo>
                      <a:pt x="2556131" y="1340450"/>
                      <a:pt x="2424269" y="1308570"/>
                      <a:pt x="2294001" y="1270846"/>
                    </a:cubicBezTo>
                    <a:cubicBezTo>
                      <a:pt x="2033466" y="1194866"/>
                      <a:pt x="1781438" y="1091788"/>
                      <a:pt x="1538448" y="971177"/>
                    </a:cubicBezTo>
                    <a:cubicBezTo>
                      <a:pt x="1295459" y="850565"/>
                      <a:pt x="1062040" y="712420"/>
                      <a:pt x="834471" y="566305"/>
                    </a:cubicBezTo>
                    <a:cubicBezTo>
                      <a:pt x="606901" y="420190"/>
                      <a:pt x="384914" y="266371"/>
                      <a:pt x="163459" y="112750"/>
                    </a:cubicBezTo>
                    <a:close/>
                  </a:path>
                </a:pathLst>
              </a:custGeom>
              <a:gradFill>
                <a:gsLst>
                  <a:gs pos="0">
                    <a:schemeClr val="accent3">
                      <a:lumMod val="75000"/>
                    </a:schemeClr>
                  </a:gs>
                  <a:gs pos="20000">
                    <a:schemeClr val="accent3"/>
                  </a:gs>
                </a:gsLst>
                <a:lin ang="0" scaled="1"/>
              </a:gra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  <p:sp>
            <p:nvSpPr>
              <p:cNvPr id="37" name="Freeform 36">
                <a:extLst>
                  <a:ext uri="{FF2B5EF4-FFF2-40B4-BE49-F238E27FC236}">
                    <a16:creationId xmlns:a16="http://schemas.microsoft.com/office/drawing/2014/main" id="{8243E712-956B-624B-A198-C226E8C404E9}"/>
                  </a:ext>
                </a:extLst>
              </p:cNvPr>
              <p:cNvSpPr/>
              <p:nvPr/>
            </p:nvSpPr>
            <p:spPr>
              <a:xfrm>
                <a:off x="7330180" y="0"/>
                <a:ext cx="4861820" cy="1389331"/>
              </a:xfrm>
              <a:custGeom>
                <a:avLst/>
                <a:gdLst>
                  <a:gd name="connsiteX0" fmla="*/ 0 w 4861820"/>
                  <a:gd name="connsiteY0" fmla="*/ 0 h 1389331"/>
                  <a:gd name="connsiteX1" fmla="*/ 229890 w 4861820"/>
                  <a:gd name="connsiteY1" fmla="*/ 0 h 1389331"/>
                  <a:gd name="connsiteX2" fmla="*/ 373317 w 4861820"/>
                  <a:gd name="connsiteY2" fmla="*/ 108292 h 1389331"/>
                  <a:gd name="connsiteX3" fmla="*/ 702260 w 4861820"/>
                  <a:gd name="connsiteY3" fmla="*/ 348992 h 1389331"/>
                  <a:gd name="connsiteX4" fmla="*/ 1384969 w 4861820"/>
                  <a:gd name="connsiteY4" fmla="*/ 788400 h 1389331"/>
                  <a:gd name="connsiteX5" fmla="*/ 2120849 w 4861820"/>
                  <a:gd name="connsiteY5" fmla="*/ 1125262 h 1389331"/>
                  <a:gd name="connsiteX6" fmla="*/ 3720750 w 4861820"/>
                  <a:gd name="connsiteY6" fmla="*/ 1329823 h 1389331"/>
                  <a:gd name="connsiteX7" fmla="*/ 3771794 w 4861820"/>
                  <a:gd name="connsiteY7" fmla="*/ 1326104 h 1389331"/>
                  <a:gd name="connsiteX8" fmla="*/ 3822306 w 4861820"/>
                  <a:gd name="connsiteY8" fmla="*/ 1320790 h 1389331"/>
                  <a:gd name="connsiteX9" fmla="*/ 3872818 w 4861820"/>
                  <a:gd name="connsiteY9" fmla="*/ 1315477 h 1389331"/>
                  <a:gd name="connsiteX10" fmla="*/ 3898339 w 4861820"/>
                  <a:gd name="connsiteY10" fmla="*/ 1312820 h 1389331"/>
                  <a:gd name="connsiteX11" fmla="*/ 3923861 w 4861820"/>
                  <a:gd name="connsiteY11" fmla="*/ 1309632 h 1389331"/>
                  <a:gd name="connsiteX12" fmla="*/ 4024885 w 4861820"/>
                  <a:gd name="connsiteY12" fmla="*/ 1295818 h 1389331"/>
                  <a:gd name="connsiteX13" fmla="*/ 4050407 w 4861820"/>
                  <a:gd name="connsiteY13" fmla="*/ 1292630 h 1389331"/>
                  <a:gd name="connsiteX14" fmla="*/ 4075397 w 4861820"/>
                  <a:gd name="connsiteY14" fmla="*/ 1288379 h 1389331"/>
                  <a:gd name="connsiteX15" fmla="*/ 4125909 w 4861820"/>
                  <a:gd name="connsiteY15" fmla="*/ 1279878 h 1389331"/>
                  <a:gd name="connsiteX16" fmla="*/ 4226401 w 4861820"/>
                  <a:gd name="connsiteY16" fmla="*/ 1261813 h 1389331"/>
                  <a:gd name="connsiteX17" fmla="*/ 4326362 w 4861820"/>
                  <a:gd name="connsiteY17" fmla="*/ 1241622 h 1389331"/>
                  <a:gd name="connsiteX18" fmla="*/ 4425790 w 4861820"/>
                  <a:gd name="connsiteY18" fmla="*/ 1218775 h 1389331"/>
                  <a:gd name="connsiteX19" fmla="*/ 4450781 w 4861820"/>
                  <a:gd name="connsiteY19" fmla="*/ 1212931 h 1389331"/>
                  <a:gd name="connsiteX20" fmla="*/ 4475239 w 4861820"/>
                  <a:gd name="connsiteY20" fmla="*/ 1206555 h 1389331"/>
                  <a:gd name="connsiteX21" fmla="*/ 4524688 w 4861820"/>
                  <a:gd name="connsiteY21" fmla="*/ 1193803 h 1389331"/>
                  <a:gd name="connsiteX22" fmla="*/ 4721220 w 4861820"/>
                  <a:gd name="connsiteY22" fmla="*/ 1137947 h 1389331"/>
                  <a:gd name="connsiteX23" fmla="*/ 4861820 w 4861820"/>
                  <a:gd name="connsiteY23" fmla="*/ 1091339 h 1389331"/>
                  <a:gd name="connsiteX24" fmla="*/ 4861820 w 4861820"/>
                  <a:gd name="connsiteY24" fmla="*/ 1102902 h 1389331"/>
                  <a:gd name="connsiteX25" fmla="*/ 4725208 w 4861820"/>
                  <a:gd name="connsiteY25" fmla="*/ 1151761 h 1389331"/>
                  <a:gd name="connsiteX26" fmla="*/ 4529473 w 4861820"/>
                  <a:gd name="connsiteY26" fmla="*/ 1212399 h 1389331"/>
                  <a:gd name="connsiteX27" fmla="*/ 4480025 w 4861820"/>
                  <a:gd name="connsiteY27" fmla="*/ 1226214 h 1389331"/>
                  <a:gd name="connsiteX28" fmla="*/ 4455566 w 4861820"/>
                  <a:gd name="connsiteY28" fmla="*/ 1233121 h 1389331"/>
                  <a:gd name="connsiteX29" fmla="*/ 4430576 w 4861820"/>
                  <a:gd name="connsiteY29" fmla="*/ 1239497 h 1389331"/>
                  <a:gd name="connsiteX30" fmla="*/ 4331148 w 4861820"/>
                  <a:gd name="connsiteY30" fmla="*/ 1265001 h 1389331"/>
                  <a:gd name="connsiteX31" fmla="*/ 4231187 w 4861820"/>
                  <a:gd name="connsiteY31" fmla="*/ 1287848 h 1389331"/>
                  <a:gd name="connsiteX32" fmla="*/ 4130694 w 4861820"/>
                  <a:gd name="connsiteY32" fmla="*/ 1308570 h 1389331"/>
                  <a:gd name="connsiteX33" fmla="*/ 4080182 w 4861820"/>
                  <a:gd name="connsiteY33" fmla="*/ 1318134 h 1389331"/>
                  <a:gd name="connsiteX34" fmla="*/ 4055192 w 4861820"/>
                  <a:gd name="connsiteY34" fmla="*/ 1322915 h 1389331"/>
                  <a:gd name="connsiteX35" fmla="*/ 4029670 w 4861820"/>
                  <a:gd name="connsiteY35" fmla="*/ 1327166 h 1389331"/>
                  <a:gd name="connsiteX36" fmla="*/ 3928115 w 4861820"/>
                  <a:gd name="connsiteY36" fmla="*/ 1343637 h 1389331"/>
                  <a:gd name="connsiteX37" fmla="*/ 3902593 w 4861820"/>
                  <a:gd name="connsiteY37" fmla="*/ 1347357 h 1389331"/>
                  <a:gd name="connsiteX38" fmla="*/ 3877071 w 4861820"/>
                  <a:gd name="connsiteY38" fmla="*/ 1350545 h 1389331"/>
                  <a:gd name="connsiteX39" fmla="*/ 3826027 w 4861820"/>
                  <a:gd name="connsiteY39" fmla="*/ 1356921 h 1389331"/>
                  <a:gd name="connsiteX40" fmla="*/ 3774984 w 4861820"/>
                  <a:gd name="connsiteY40" fmla="*/ 1363297 h 1389331"/>
                  <a:gd name="connsiteX41" fmla="*/ 3723940 w 4861820"/>
                  <a:gd name="connsiteY41" fmla="*/ 1368078 h 1389331"/>
                  <a:gd name="connsiteX42" fmla="*/ 3621321 w 4861820"/>
                  <a:gd name="connsiteY42" fmla="*/ 1377642 h 1389331"/>
                  <a:gd name="connsiteX43" fmla="*/ 3518702 w 4861820"/>
                  <a:gd name="connsiteY43" fmla="*/ 1383487 h 1389331"/>
                  <a:gd name="connsiteX44" fmla="*/ 3467126 w 4861820"/>
                  <a:gd name="connsiteY44" fmla="*/ 1386144 h 1389331"/>
                  <a:gd name="connsiteX45" fmla="*/ 3415551 w 4861820"/>
                  <a:gd name="connsiteY45" fmla="*/ 1387206 h 1389331"/>
                  <a:gd name="connsiteX46" fmla="*/ 3312400 w 4861820"/>
                  <a:gd name="connsiteY46" fmla="*/ 1389331 h 1389331"/>
                  <a:gd name="connsiteX47" fmla="*/ 2900860 w 4861820"/>
                  <a:gd name="connsiteY47" fmla="*/ 1368610 h 1389331"/>
                  <a:gd name="connsiteX48" fmla="*/ 2094264 w 4861820"/>
                  <a:gd name="connsiteY48" fmla="*/ 1199648 h 1389331"/>
                  <a:gd name="connsiteX49" fmla="*/ 1335520 w 4861820"/>
                  <a:gd name="connsiteY49" fmla="*/ 875006 h 1389331"/>
                  <a:gd name="connsiteX50" fmla="*/ 632075 w 4861820"/>
                  <a:gd name="connsiteY50" fmla="*/ 446225 h 1389331"/>
                  <a:gd name="connsiteX51" fmla="*/ 294907 w 4861820"/>
                  <a:gd name="connsiteY51" fmla="*/ 211710 h 138933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</a:cxnLst>
                <a:rect l="l" t="t" r="r" b="b"/>
                <a:pathLst>
                  <a:path w="4861820" h="1389331">
                    <a:moveTo>
                      <a:pt x="0" y="0"/>
                    </a:moveTo>
                    <a:lnTo>
                      <a:pt x="229890" y="0"/>
                    </a:lnTo>
                    <a:lnTo>
                      <a:pt x="373317" y="108292"/>
                    </a:lnTo>
                    <a:cubicBezTo>
                      <a:pt x="482267" y="189793"/>
                      <a:pt x="591665" y="270356"/>
                      <a:pt x="702260" y="348992"/>
                    </a:cubicBezTo>
                    <a:cubicBezTo>
                      <a:pt x="923449" y="506265"/>
                      <a:pt x="1149423" y="656099"/>
                      <a:pt x="1384969" y="788400"/>
                    </a:cubicBezTo>
                    <a:cubicBezTo>
                      <a:pt x="1620515" y="921232"/>
                      <a:pt x="1866162" y="1035999"/>
                      <a:pt x="2120849" y="1125262"/>
                    </a:cubicBezTo>
                    <a:cubicBezTo>
                      <a:pt x="2630754" y="1304850"/>
                      <a:pt x="3179474" y="1371798"/>
                      <a:pt x="3720750" y="1329823"/>
                    </a:cubicBezTo>
                    <a:cubicBezTo>
                      <a:pt x="3737764" y="1328760"/>
                      <a:pt x="3754779" y="1327698"/>
                      <a:pt x="3771794" y="1326104"/>
                    </a:cubicBezTo>
                    <a:lnTo>
                      <a:pt x="3822306" y="1320790"/>
                    </a:lnTo>
                    <a:lnTo>
                      <a:pt x="3872818" y="1315477"/>
                    </a:lnTo>
                    <a:lnTo>
                      <a:pt x="3898339" y="1312820"/>
                    </a:lnTo>
                    <a:cubicBezTo>
                      <a:pt x="3906847" y="1311758"/>
                      <a:pt x="3915354" y="1311226"/>
                      <a:pt x="3923861" y="1309632"/>
                    </a:cubicBezTo>
                    <a:lnTo>
                      <a:pt x="4024885" y="1295818"/>
                    </a:lnTo>
                    <a:lnTo>
                      <a:pt x="4050407" y="1292630"/>
                    </a:lnTo>
                    <a:cubicBezTo>
                      <a:pt x="4058914" y="1291567"/>
                      <a:pt x="4067422" y="1289973"/>
                      <a:pt x="4075397" y="1288379"/>
                    </a:cubicBezTo>
                    <a:lnTo>
                      <a:pt x="4125909" y="1279878"/>
                    </a:lnTo>
                    <a:cubicBezTo>
                      <a:pt x="4159407" y="1274034"/>
                      <a:pt x="4192904" y="1269251"/>
                      <a:pt x="4226401" y="1261813"/>
                    </a:cubicBezTo>
                    <a:lnTo>
                      <a:pt x="4326362" y="1241622"/>
                    </a:lnTo>
                    <a:lnTo>
                      <a:pt x="4425790" y="1218775"/>
                    </a:lnTo>
                    <a:lnTo>
                      <a:pt x="4450781" y="1212931"/>
                    </a:lnTo>
                    <a:lnTo>
                      <a:pt x="4475239" y="1206555"/>
                    </a:lnTo>
                    <a:lnTo>
                      <a:pt x="4524688" y="1193803"/>
                    </a:lnTo>
                    <a:cubicBezTo>
                      <a:pt x="4590620" y="1176535"/>
                      <a:pt x="4656152" y="1157939"/>
                      <a:pt x="4721220" y="1137947"/>
                    </a:cubicBezTo>
                    <a:lnTo>
                      <a:pt x="4861820" y="1091339"/>
                    </a:lnTo>
                    <a:lnTo>
                      <a:pt x="4861820" y="1102902"/>
                    </a:lnTo>
                    <a:lnTo>
                      <a:pt x="4725208" y="1151761"/>
                    </a:lnTo>
                    <a:cubicBezTo>
                      <a:pt x="4660406" y="1173347"/>
                      <a:pt x="4595139" y="1193537"/>
                      <a:pt x="4529473" y="1212399"/>
                    </a:cubicBezTo>
                    <a:lnTo>
                      <a:pt x="4480025" y="1226214"/>
                    </a:lnTo>
                    <a:lnTo>
                      <a:pt x="4455566" y="1233121"/>
                    </a:lnTo>
                    <a:lnTo>
                      <a:pt x="4430576" y="1239497"/>
                    </a:lnTo>
                    <a:lnTo>
                      <a:pt x="4331148" y="1265001"/>
                    </a:lnTo>
                    <a:lnTo>
                      <a:pt x="4231187" y="1287848"/>
                    </a:lnTo>
                    <a:cubicBezTo>
                      <a:pt x="4197689" y="1295818"/>
                      <a:pt x="4164192" y="1301662"/>
                      <a:pt x="4130694" y="1308570"/>
                    </a:cubicBezTo>
                    <a:lnTo>
                      <a:pt x="4080182" y="1318134"/>
                    </a:lnTo>
                    <a:cubicBezTo>
                      <a:pt x="4071675" y="1319728"/>
                      <a:pt x="4063168" y="1321322"/>
                      <a:pt x="4055192" y="1322915"/>
                    </a:cubicBezTo>
                    <a:lnTo>
                      <a:pt x="4029670" y="1327166"/>
                    </a:lnTo>
                    <a:lnTo>
                      <a:pt x="3928115" y="1343637"/>
                    </a:lnTo>
                    <a:cubicBezTo>
                      <a:pt x="3919607" y="1345231"/>
                      <a:pt x="3911100" y="1346294"/>
                      <a:pt x="3902593" y="1347357"/>
                    </a:cubicBezTo>
                    <a:lnTo>
                      <a:pt x="3877071" y="1350545"/>
                    </a:lnTo>
                    <a:lnTo>
                      <a:pt x="3826027" y="1356921"/>
                    </a:lnTo>
                    <a:lnTo>
                      <a:pt x="3774984" y="1363297"/>
                    </a:lnTo>
                    <a:cubicBezTo>
                      <a:pt x="3757969" y="1364890"/>
                      <a:pt x="3740954" y="1366484"/>
                      <a:pt x="3723940" y="1368078"/>
                    </a:cubicBezTo>
                    <a:lnTo>
                      <a:pt x="3621321" y="1377642"/>
                    </a:lnTo>
                    <a:lnTo>
                      <a:pt x="3518702" y="1383487"/>
                    </a:lnTo>
                    <a:lnTo>
                      <a:pt x="3467126" y="1386144"/>
                    </a:lnTo>
                    <a:lnTo>
                      <a:pt x="3415551" y="1387206"/>
                    </a:lnTo>
                    <a:lnTo>
                      <a:pt x="3312400" y="1389331"/>
                    </a:lnTo>
                    <a:cubicBezTo>
                      <a:pt x="3175220" y="1389331"/>
                      <a:pt x="3038040" y="1382424"/>
                      <a:pt x="2900860" y="1368610"/>
                    </a:cubicBezTo>
                    <a:cubicBezTo>
                      <a:pt x="2627564" y="1340981"/>
                      <a:pt x="2356394" y="1284129"/>
                      <a:pt x="2094264" y="1199648"/>
                    </a:cubicBezTo>
                    <a:cubicBezTo>
                      <a:pt x="1832133" y="1115166"/>
                      <a:pt x="1578510" y="1003588"/>
                      <a:pt x="1335520" y="875006"/>
                    </a:cubicBezTo>
                    <a:cubicBezTo>
                      <a:pt x="1092531" y="745894"/>
                      <a:pt x="859113" y="599778"/>
                      <a:pt x="632075" y="446225"/>
                    </a:cubicBezTo>
                    <a:cubicBezTo>
                      <a:pt x="518556" y="369448"/>
                      <a:pt x="406366" y="290944"/>
                      <a:pt x="294907" y="211710"/>
                    </a:cubicBezTo>
                    <a:close/>
                  </a:path>
                </a:pathLst>
              </a:custGeom>
              <a:solidFill>
                <a:schemeClr val="accent1"/>
              </a:solidFill>
              <a:ln w="5317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1800"/>
              </a:p>
            </p:txBody>
          </p:sp>
        </p:grpSp>
      </p:grpSp>
      <p:pic>
        <p:nvPicPr>
          <p:cNvPr id="9" name="Graphic 8" descr="Open quotation mark with solid fill">
            <a:extLst>
              <a:ext uri="{FF2B5EF4-FFF2-40B4-BE49-F238E27FC236}">
                <a16:creationId xmlns:a16="http://schemas.microsoft.com/office/drawing/2014/main" id="{FA16D546-1C30-C844-9DAE-C6F23476B3B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11512" y="136525"/>
            <a:ext cx="2036762" cy="20367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14461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132.xml"/><Relationship Id="rId299" Type="http://schemas.openxmlformats.org/officeDocument/2006/relationships/slideLayout" Target="../slideLayouts/slideLayout314.xml"/><Relationship Id="rId21" Type="http://schemas.openxmlformats.org/officeDocument/2006/relationships/slideLayout" Target="../slideLayouts/slideLayout36.xml"/><Relationship Id="rId63" Type="http://schemas.openxmlformats.org/officeDocument/2006/relationships/slideLayout" Target="../slideLayouts/slideLayout78.xml"/><Relationship Id="rId159" Type="http://schemas.openxmlformats.org/officeDocument/2006/relationships/slideLayout" Target="../slideLayouts/slideLayout174.xml"/><Relationship Id="rId324" Type="http://schemas.openxmlformats.org/officeDocument/2006/relationships/slideLayout" Target="../slideLayouts/slideLayout339.xml"/><Relationship Id="rId366" Type="http://schemas.openxmlformats.org/officeDocument/2006/relationships/slideLayout" Target="../slideLayouts/slideLayout381.xml"/><Relationship Id="rId170" Type="http://schemas.openxmlformats.org/officeDocument/2006/relationships/slideLayout" Target="../slideLayouts/slideLayout185.xml"/><Relationship Id="rId226" Type="http://schemas.openxmlformats.org/officeDocument/2006/relationships/slideLayout" Target="../slideLayouts/slideLayout241.xml"/><Relationship Id="rId433" Type="http://schemas.openxmlformats.org/officeDocument/2006/relationships/slideLayout" Target="../slideLayouts/slideLayout448.xml"/><Relationship Id="rId268" Type="http://schemas.openxmlformats.org/officeDocument/2006/relationships/slideLayout" Target="../slideLayouts/slideLayout283.xml"/><Relationship Id="rId475" Type="http://schemas.openxmlformats.org/officeDocument/2006/relationships/slideLayout" Target="../slideLayouts/slideLayout490.xml"/><Relationship Id="rId32" Type="http://schemas.openxmlformats.org/officeDocument/2006/relationships/slideLayout" Target="../slideLayouts/slideLayout47.xml"/><Relationship Id="rId74" Type="http://schemas.openxmlformats.org/officeDocument/2006/relationships/slideLayout" Target="../slideLayouts/slideLayout89.xml"/><Relationship Id="rId128" Type="http://schemas.openxmlformats.org/officeDocument/2006/relationships/slideLayout" Target="../slideLayouts/slideLayout143.xml"/><Relationship Id="rId335" Type="http://schemas.openxmlformats.org/officeDocument/2006/relationships/slideLayout" Target="../slideLayouts/slideLayout350.xml"/><Relationship Id="rId377" Type="http://schemas.openxmlformats.org/officeDocument/2006/relationships/slideLayout" Target="../slideLayouts/slideLayout392.xml"/><Relationship Id="rId5" Type="http://schemas.openxmlformats.org/officeDocument/2006/relationships/slideLayout" Target="../slideLayouts/slideLayout20.xml"/><Relationship Id="rId181" Type="http://schemas.openxmlformats.org/officeDocument/2006/relationships/slideLayout" Target="../slideLayouts/slideLayout196.xml"/><Relationship Id="rId237" Type="http://schemas.openxmlformats.org/officeDocument/2006/relationships/slideLayout" Target="../slideLayouts/slideLayout252.xml"/><Relationship Id="rId402" Type="http://schemas.openxmlformats.org/officeDocument/2006/relationships/slideLayout" Target="../slideLayouts/slideLayout417.xml"/><Relationship Id="rId279" Type="http://schemas.openxmlformats.org/officeDocument/2006/relationships/slideLayout" Target="../slideLayouts/slideLayout294.xml"/><Relationship Id="rId444" Type="http://schemas.openxmlformats.org/officeDocument/2006/relationships/slideLayout" Target="../slideLayouts/slideLayout459.xml"/><Relationship Id="rId486" Type="http://schemas.openxmlformats.org/officeDocument/2006/relationships/slideLayout" Target="../slideLayouts/slideLayout501.xml"/><Relationship Id="rId43" Type="http://schemas.openxmlformats.org/officeDocument/2006/relationships/slideLayout" Target="../slideLayouts/slideLayout58.xml"/><Relationship Id="rId139" Type="http://schemas.openxmlformats.org/officeDocument/2006/relationships/slideLayout" Target="../slideLayouts/slideLayout154.xml"/><Relationship Id="rId290" Type="http://schemas.openxmlformats.org/officeDocument/2006/relationships/slideLayout" Target="../slideLayouts/slideLayout305.xml"/><Relationship Id="rId304" Type="http://schemas.openxmlformats.org/officeDocument/2006/relationships/slideLayout" Target="../slideLayouts/slideLayout319.xml"/><Relationship Id="rId346" Type="http://schemas.openxmlformats.org/officeDocument/2006/relationships/slideLayout" Target="../slideLayouts/slideLayout361.xml"/><Relationship Id="rId388" Type="http://schemas.openxmlformats.org/officeDocument/2006/relationships/slideLayout" Target="../slideLayouts/slideLayout403.xml"/><Relationship Id="rId85" Type="http://schemas.openxmlformats.org/officeDocument/2006/relationships/slideLayout" Target="../slideLayouts/slideLayout100.xml"/><Relationship Id="rId150" Type="http://schemas.openxmlformats.org/officeDocument/2006/relationships/slideLayout" Target="../slideLayouts/slideLayout165.xml"/><Relationship Id="rId192" Type="http://schemas.openxmlformats.org/officeDocument/2006/relationships/slideLayout" Target="../slideLayouts/slideLayout207.xml"/><Relationship Id="rId206" Type="http://schemas.openxmlformats.org/officeDocument/2006/relationships/slideLayout" Target="../slideLayouts/slideLayout221.xml"/><Relationship Id="rId413" Type="http://schemas.openxmlformats.org/officeDocument/2006/relationships/slideLayout" Target="../slideLayouts/slideLayout428.xml"/><Relationship Id="rId248" Type="http://schemas.openxmlformats.org/officeDocument/2006/relationships/slideLayout" Target="../slideLayouts/slideLayout263.xml"/><Relationship Id="rId455" Type="http://schemas.openxmlformats.org/officeDocument/2006/relationships/slideLayout" Target="../slideLayouts/slideLayout470.xml"/><Relationship Id="rId497" Type="http://schemas.openxmlformats.org/officeDocument/2006/relationships/slideLayout" Target="../slideLayouts/slideLayout512.xml"/><Relationship Id="rId12" Type="http://schemas.openxmlformats.org/officeDocument/2006/relationships/slideLayout" Target="../slideLayouts/slideLayout27.xml"/><Relationship Id="rId108" Type="http://schemas.openxmlformats.org/officeDocument/2006/relationships/slideLayout" Target="../slideLayouts/slideLayout123.xml"/><Relationship Id="rId315" Type="http://schemas.openxmlformats.org/officeDocument/2006/relationships/slideLayout" Target="../slideLayouts/slideLayout330.xml"/><Relationship Id="rId357" Type="http://schemas.openxmlformats.org/officeDocument/2006/relationships/slideLayout" Target="../slideLayouts/slideLayout372.xml"/><Relationship Id="rId54" Type="http://schemas.openxmlformats.org/officeDocument/2006/relationships/slideLayout" Target="../slideLayouts/slideLayout69.xml"/><Relationship Id="rId96" Type="http://schemas.openxmlformats.org/officeDocument/2006/relationships/slideLayout" Target="../slideLayouts/slideLayout111.xml"/><Relationship Id="rId161" Type="http://schemas.openxmlformats.org/officeDocument/2006/relationships/slideLayout" Target="../slideLayouts/slideLayout176.xml"/><Relationship Id="rId217" Type="http://schemas.openxmlformats.org/officeDocument/2006/relationships/slideLayout" Target="../slideLayouts/slideLayout232.xml"/><Relationship Id="rId399" Type="http://schemas.openxmlformats.org/officeDocument/2006/relationships/slideLayout" Target="../slideLayouts/slideLayout414.xml"/><Relationship Id="rId259" Type="http://schemas.openxmlformats.org/officeDocument/2006/relationships/slideLayout" Target="../slideLayouts/slideLayout274.xml"/><Relationship Id="rId424" Type="http://schemas.openxmlformats.org/officeDocument/2006/relationships/slideLayout" Target="../slideLayouts/slideLayout439.xml"/><Relationship Id="rId466" Type="http://schemas.openxmlformats.org/officeDocument/2006/relationships/slideLayout" Target="../slideLayouts/slideLayout481.xml"/><Relationship Id="rId23" Type="http://schemas.openxmlformats.org/officeDocument/2006/relationships/slideLayout" Target="../slideLayouts/slideLayout38.xml"/><Relationship Id="rId119" Type="http://schemas.openxmlformats.org/officeDocument/2006/relationships/slideLayout" Target="../slideLayouts/slideLayout134.xml"/><Relationship Id="rId270" Type="http://schemas.openxmlformats.org/officeDocument/2006/relationships/slideLayout" Target="../slideLayouts/slideLayout285.xml"/><Relationship Id="rId326" Type="http://schemas.openxmlformats.org/officeDocument/2006/relationships/slideLayout" Target="../slideLayouts/slideLayout341.xml"/><Relationship Id="rId65" Type="http://schemas.openxmlformats.org/officeDocument/2006/relationships/slideLayout" Target="../slideLayouts/slideLayout80.xml"/><Relationship Id="rId130" Type="http://schemas.openxmlformats.org/officeDocument/2006/relationships/slideLayout" Target="../slideLayouts/slideLayout145.xml"/><Relationship Id="rId368" Type="http://schemas.openxmlformats.org/officeDocument/2006/relationships/slideLayout" Target="../slideLayouts/slideLayout383.xml"/><Relationship Id="rId172" Type="http://schemas.openxmlformats.org/officeDocument/2006/relationships/slideLayout" Target="../slideLayouts/slideLayout187.xml"/><Relationship Id="rId228" Type="http://schemas.openxmlformats.org/officeDocument/2006/relationships/slideLayout" Target="../slideLayouts/slideLayout243.xml"/><Relationship Id="rId435" Type="http://schemas.openxmlformats.org/officeDocument/2006/relationships/slideLayout" Target="../slideLayouts/slideLayout450.xml"/><Relationship Id="rId477" Type="http://schemas.openxmlformats.org/officeDocument/2006/relationships/slideLayout" Target="../slideLayouts/slideLayout492.xml"/><Relationship Id="rId281" Type="http://schemas.openxmlformats.org/officeDocument/2006/relationships/slideLayout" Target="../slideLayouts/slideLayout296.xml"/><Relationship Id="rId337" Type="http://schemas.openxmlformats.org/officeDocument/2006/relationships/slideLayout" Target="../slideLayouts/slideLayout352.xml"/><Relationship Id="rId34" Type="http://schemas.openxmlformats.org/officeDocument/2006/relationships/slideLayout" Target="../slideLayouts/slideLayout49.xml"/><Relationship Id="rId76" Type="http://schemas.openxmlformats.org/officeDocument/2006/relationships/slideLayout" Target="../slideLayouts/slideLayout91.xml"/><Relationship Id="rId141" Type="http://schemas.openxmlformats.org/officeDocument/2006/relationships/slideLayout" Target="../slideLayouts/slideLayout156.xml"/><Relationship Id="rId379" Type="http://schemas.openxmlformats.org/officeDocument/2006/relationships/slideLayout" Target="../slideLayouts/slideLayout394.xml"/><Relationship Id="rId7" Type="http://schemas.openxmlformats.org/officeDocument/2006/relationships/slideLayout" Target="../slideLayouts/slideLayout22.xml"/><Relationship Id="rId183" Type="http://schemas.openxmlformats.org/officeDocument/2006/relationships/slideLayout" Target="../slideLayouts/slideLayout198.xml"/><Relationship Id="rId239" Type="http://schemas.openxmlformats.org/officeDocument/2006/relationships/slideLayout" Target="../slideLayouts/slideLayout254.xml"/><Relationship Id="rId390" Type="http://schemas.openxmlformats.org/officeDocument/2006/relationships/slideLayout" Target="../slideLayouts/slideLayout405.xml"/><Relationship Id="rId404" Type="http://schemas.openxmlformats.org/officeDocument/2006/relationships/slideLayout" Target="../slideLayouts/slideLayout419.xml"/><Relationship Id="rId446" Type="http://schemas.openxmlformats.org/officeDocument/2006/relationships/slideLayout" Target="../slideLayouts/slideLayout461.xml"/><Relationship Id="rId250" Type="http://schemas.openxmlformats.org/officeDocument/2006/relationships/slideLayout" Target="../slideLayouts/slideLayout265.xml"/><Relationship Id="rId292" Type="http://schemas.openxmlformats.org/officeDocument/2006/relationships/slideLayout" Target="../slideLayouts/slideLayout307.xml"/><Relationship Id="rId306" Type="http://schemas.openxmlformats.org/officeDocument/2006/relationships/slideLayout" Target="../slideLayouts/slideLayout321.xml"/><Relationship Id="rId488" Type="http://schemas.openxmlformats.org/officeDocument/2006/relationships/slideLayout" Target="../slideLayouts/slideLayout503.xml"/><Relationship Id="rId45" Type="http://schemas.openxmlformats.org/officeDocument/2006/relationships/slideLayout" Target="../slideLayouts/slideLayout60.xml"/><Relationship Id="rId87" Type="http://schemas.openxmlformats.org/officeDocument/2006/relationships/slideLayout" Target="../slideLayouts/slideLayout102.xml"/><Relationship Id="rId110" Type="http://schemas.openxmlformats.org/officeDocument/2006/relationships/slideLayout" Target="../slideLayouts/slideLayout125.xml"/><Relationship Id="rId348" Type="http://schemas.openxmlformats.org/officeDocument/2006/relationships/slideLayout" Target="../slideLayouts/slideLayout363.xml"/><Relationship Id="rId152" Type="http://schemas.openxmlformats.org/officeDocument/2006/relationships/slideLayout" Target="../slideLayouts/slideLayout167.xml"/><Relationship Id="rId194" Type="http://schemas.openxmlformats.org/officeDocument/2006/relationships/slideLayout" Target="../slideLayouts/slideLayout209.xml"/><Relationship Id="rId208" Type="http://schemas.openxmlformats.org/officeDocument/2006/relationships/slideLayout" Target="../slideLayouts/slideLayout223.xml"/><Relationship Id="rId415" Type="http://schemas.openxmlformats.org/officeDocument/2006/relationships/slideLayout" Target="../slideLayouts/slideLayout430.xml"/><Relationship Id="rId457" Type="http://schemas.openxmlformats.org/officeDocument/2006/relationships/slideLayout" Target="../slideLayouts/slideLayout472.xml"/><Relationship Id="rId261" Type="http://schemas.openxmlformats.org/officeDocument/2006/relationships/slideLayout" Target="../slideLayouts/slideLayout276.xml"/><Relationship Id="rId14" Type="http://schemas.openxmlformats.org/officeDocument/2006/relationships/slideLayout" Target="../slideLayouts/slideLayout29.xml"/><Relationship Id="rId56" Type="http://schemas.openxmlformats.org/officeDocument/2006/relationships/slideLayout" Target="../slideLayouts/slideLayout71.xml"/><Relationship Id="rId317" Type="http://schemas.openxmlformats.org/officeDocument/2006/relationships/slideLayout" Target="../slideLayouts/slideLayout332.xml"/><Relationship Id="rId359" Type="http://schemas.openxmlformats.org/officeDocument/2006/relationships/slideLayout" Target="../slideLayouts/slideLayout374.xml"/><Relationship Id="rId98" Type="http://schemas.openxmlformats.org/officeDocument/2006/relationships/slideLayout" Target="../slideLayouts/slideLayout113.xml"/><Relationship Id="rId121" Type="http://schemas.openxmlformats.org/officeDocument/2006/relationships/slideLayout" Target="../slideLayouts/slideLayout136.xml"/><Relationship Id="rId163" Type="http://schemas.openxmlformats.org/officeDocument/2006/relationships/slideLayout" Target="../slideLayouts/slideLayout178.xml"/><Relationship Id="rId219" Type="http://schemas.openxmlformats.org/officeDocument/2006/relationships/slideLayout" Target="../slideLayouts/slideLayout234.xml"/><Relationship Id="rId370" Type="http://schemas.openxmlformats.org/officeDocument/2006/relationships/slideLayout" Target="../slideLayouts/slideLayout385.xml"/><Relationship Id="rId426" Type="http://schemas.openxmlformats.org/officeDocument/2006/relationships/slideLayout" Target="../slideLayouts/slideLayout441.xml"/><Relationship Id="rId230" Type="http://schemas.openxmlformats.org/officeDocument/2006/relationships/slideLayout" Target="../slideLayouts/slideLayout245.xml"/><Relationship Id="rId468" Type="http://schemas.openxmlformats.org/officeDocument/2006/relationships/slideLayout" Target="../slideLayouts/slideLayout483.xml"/><Relationship Id="rId25" Type="http://schemas.openxmlformats.org/officeDocument/2006/relationships/slideLayout" Target="../slideLayouts/slideLayout40.xml"/><Relationship Id="rId67" Type="http://schemas.openxmlformats.org/officeDocument/2006/relationships/slideLayout" Target="../slideLayouts/slideLayout82.xml"/><Relationship Id="rId272" Type="http://schemas.openxmlformats.org/officeDocument/2006/relationships/slideLayout" Target="../slideLayouts/slideLayout287.xml"/><Relationship Id="rId328" Type="http://schemas.openxmlformats.org/officeDocument/2006/relationships/slideLayout" Target="../slideLayouts/slideLayout343.xml"/><Relationship Id="rId132" Type="http://schemas.openxmlformats.org/officeDocument/2006/relationships/slideLayout" Target="../slideLayouts/slideLayout147.xml"/><Relationship Id="rId174" Type="http://schemas.openxmlformats.org/officeDocument/2006/relationships/slideLayout" Target="../slideLayouts/slideLayout189.xml"/><Relationship Id="rId381" Type="http://schemas.openxmlformats.org/officeDocument/2006/relationships/slideLayout" Target="../slideLayouts/slideLayout396.xml"/><Relationship Id="rId241" Type="http://schemas.openxmlformats.org/officeDocument/2006/relationships/slideLayout" Target="../slideLayouts/slideLayout256.xml"/><Relationship Id="rId437" Type="http://schemas.openxmlformats.org/officeDocument/2006/relationships/slideLayout" Target="../slideLayouts/slideLayout452.xml"/><Relationship Id="rId479" Type="http://schemas.openxmlformats.org/officeDocument/2006/relationships/slideLayout" Target="../slideLayouts/slideLayout494.xml"/><Relationship Id="rId36" Type="http://schemas.openxmlformats.org/officeDocument/2006/relationships/slideLayout" Target="../slideLayouts/slideLayout51.xml"/><Relationship Id="rId283" Type="http://schemas.openxmlformats.org/officeDocument/2006/relationships/slideLayout" Target="../slideLayouts/slideLayout298.xml"/><Relationship Id="rId339" Type="http://schemas.openxmlformats.org/officeDocument/2006/relationships/slideLayout" Target="../slideLayouts/slideLayout354.xml"/><Relationship Id="rId490" Type="http://schemas.openxmlformats.org/officeDocument/2006/relationships/slideLayout" Target="../slideLayouts/slideLayout505.xml"/><Relationship Id="rId78" Type="http://schemas.openxmlformats.org/officeDocument/2006/relationships/slideLayout" Target="../slideLayouts/slideLayout93.xml"/><Relationship Id="rId101" Type="http://schemas.openxmlformats.org/officeDocument/2006/relationships/slideLayout" Target="../slideLayouts/slideLayout116.xml"/><Relationship Id="rId143" Type="http://schemas.openxmlformats.org/officeDocument/2006/relationships/slideLayout" Target="../slideLayouts/slideLayout158.xml"/><Relationship Id="rId185" Type="http://schemas.openxmlformats.org/officeDocument/2006/relationships/slideLayout" Target="../slideLayouts/slideLayout200.xml"/><Relationship Id="rId350" Type="http://schemas.openxmlformats.org/officeDocument/2006/relationships/slideLayout" Target="../slideLayouts/slideLayout365.xml"/><Relationship Id="rId406" Type="http://schemas.openxmlformats.org/officeDocument/2006/relationships/slideLayout" Target="../slideLayouts/slideLayout421.xml"/><Relationship Id="rId9" Type="http://schemas.openxmlformats.org/officeDocument/2006/relationships/slideLayout" Target="../slideLayouts/slideLayout24.xml"/><Relationship Id="rId210" Type="http://schemas.openxmlformats.org/officeDocument/2006/relationships/slideLayout" Target="../slideLayouts/slideLayout225.xml"/><Relationship Id="rId392" Type="http://schemas.openxmlformats.org/officeDocument/2006/relationships/slideLayout" Target="../slideLayouts/slideLayout407.xml"/><Relationship Id="rId448" Type="http://schemas.openxmlformats.org/officeDocument/2006/relationships/slideLayout" Target="../slideLayouts/slideLayout463.xml"/><Relationship Id="rId252" Type="http://schemas.openxmlformats.org/officeDocument/2006/relationships/slideLayout" Target="../slideLayouts/slideLayout267.xml"/><Relationship Id="rId294" Type="http://schemas.openxmlformats.org/officeDocument/2006/relationships/slideLayout" Target="../slideLayouts/slideLayout309.xml"/><Relationship Id="rId308" Type="http://schemas.openxmlformats.org/officeDocument/2006/relationships/slideLayout" Target="../slideLayouts/slideLayout323.xml"/><Relationship Id="rId47" Type="http://schemas.openxmlformats.org/officeDocument/2006/relationships/slideLayout" Target="../slideLayouts/slideLayout62.xml"/><Relationship Id="rId89" Type="http://schemas.openxmlformats.org/officeDocument/2006/relationships/slideLayout" Target="../slideLayouts/slideLayout104.xml"/><Relationship Id="rId112" Type="http://schemas.openxmlformats.org/officeDocument/2006/relationships/slideLayout" Target="../slideLayouts/slideLayout127.xml"/><Relationship Id="rId154" Type="http://schemas.openxmlformats.org/officeDocument/2006/relationships/slideLayout" Target="../slideLayouts/slideLayout169.xml"/><Relationship Id="rId361" Type="http://schemas.openxmlformats.org/officeDocument/2006/relationships/slideLayout" Target="../slideLayouts/slideLayout376.xml"/><Relationship Id="rId196" Type="http://schemas.openxmlformats.org/officeDocument/2006/relationships/slideLayout" Target="../slideLayouts/slideLayout211.xml"/><Relationship Id="rId417" Type="http://schemas.openxmlformats.org/officeDocument/2006/relationships/slideLayout" Target="../slideLayouts/slideLayout432.xml"/><Relationship Id="rId459" Type="http://schemas.openxmlformats.org/officeDocument/2006/relationships/slideLayout" Target="../slideLayouts/slideLayout474.xml"/><Relationship Id="rId16" Type="http://schemas.openxmlformats.org/officeDocument/2006/relationships/slideLayout" Target="../slideLayouts/slideLayout31.xml"/><Relationship Id="rId221" Type="http://schemas.openxmlformats.org/officeDocument/2006/relationships/slideLayout" Target="../slideLayouts/slideLayout236.xml"/><Relationship Id="rId263" Type="http://schemas.openxmlformats.org/officeDocument/2006/relationships/slideLayout" Target="../slideLayouts/slideLayout278.xml"/><Relationship Id="rId319" Type="http://schemas.openxmlformats.org/officeDocument/2006/relationships/slideLayout" Target="../slideLayouts/slideLayout334.xml"/><Relationship Id="rId470" Type="http://schemas.openxmlformats.org/officeDocument/2006/relationships/slideLayout" Target="../slideLayouts/slideLayout485.xml"/><Relationship Id="rId58" Type="http://schemas.openxmlformats.org/officeDocument/2006/relationships/slideLayout" Target="../slideLayouts/slideLayout73.xml"/><Relationship Id="rId123" Type="http://schemas.openxmlformats.org/officeDocument/2006/relationships/slideLayout" Target="../slideLayouts/slideLayout138.xml"/><Relationship Id="rId330" Type="http://schemas.openxmlformats.org/officeDocument/2006/relationships/slideLayout" Target="../slideLayouts/slideLayout345.xml"/><Relationship Id="rId165" Type="http://schemas.openxmlformats.org/officeDocument/2006/relationships/slideLayout" Target="../slideLayouts/slideLayout180.xml"/><Relationship Id="rId372" Type="http://schemas.openxmlformats.org/officeDocument/2006/relationships/slideLayout" Target="../slideLayouts/slideLayout387.xml"/><Relationship Id="rId428" Type="http://schemas.openxmlformats.org/officeDocument/2006/relationships/slideLayout" Target="../slideLayouts/slideLayout443.xml"/><Relationship Id="rId232" Type="http://schemas.openxmlformats.org/officeDocument/2006/relationships/slideLayout" Target="../slideLayouts/slideLayout247.xml"/><Relationship Id="rId274" Type="http://schemas.openxmlformats.org/officeDocument/2006/relationships/slideLayout" Target="../slideLayouts/slideLayout289.xml"/><Relationship Id="rId481" Type="http://schemas.openxmlformats.org/officeDocument/2006/relationships/slideLayout" Target="../slideLayouts/slideLayout496.xml"/><Relationship Id="rId27" Type="http://schemas.openxmlformats.org/officeDocument/2006/relationships/slideLayout" Target="../slideLayouts/slideLayout42.xml"/><Relationship Id="rId69" Type="http://schemas.openxmlformats.org/officeDocument/2006/relationships/slideLayout" Target="../slideLayouts/slideLayout84.xml"/><Relationship Id="rId134" Type="http://schemas.openxmlformats.org/officeDocument/2006/relationships/slideLayout" Target="../slideLayouts/slideLayout149.xml"/><Relationship Id="rId80" Type="http://schemas.openxmlformats.org/officeDocument/2006/relationships/slideLayout" Target="../slideLayouts/slideLayout95.xml"/><Relationship Id="rId176" Type="http://schemas.openxmlformats.org/officeDocument/2006/relationships/slideLayout" Target="../slideLayouts/slideLayout191.xml"/><Relationship Id="rId341" Type="http://schemas.openxmlformats.org/officeDocument/2006/relationships/slideLayout" Target="../slideLayouts/slideLayout356.xml"/><Relationship Id="rId383" Type="http://schemas.openxmlformats.org/officeDocument/2006/relationships/slideLayout" Target="../slideLayouts/slideLayout398.xml"/><Relationship Id="rId439" Type="http://schemas.openxmlformats.org/officeDocument/2006/relationships/slideLayout" Target="../slideLayouts/slideLayout454.xml"/><Relationship Id="rId201" Type="http://schemas.openxmlformats.org/officeDocument/2006/relationships/slideLayout" Target="../slideLayouts/slideLayout216.xml"/><Relationship Id="rId243" Type="http://schemas.openxmlformats.org/officeDocument/2006/relationships/slideLayout" Target="../slideLayouts/slideLayout258.xml"/><Relationship Id="rId285" Type="http://schemas.openxmlformats.org/officeDocument/2006/relationships/slideLayout" Target="../slideLayouts/slideLayout300.xml"/><Relationship Id="rId450" Type="http://schemas.openxmlformats.org/officeDocument/2006/relationships/slideLayout" Target="../slideLayouts/slideLayout465.xml"/><Relationship Id="rId38" Type="http://schemas.openxmlformats.org/officeDocument/2006/relationships/slideLayout" Target="../slideLayouts/slideLayout53.xml"/><Relationship Id="rId103" Type="http://schemas.openxmlformats.org/officeDocument/2006/relationships/slideLayout" Target="../slideLayouts/slideLayout118.xml"/><Relationship Id="rId310" Type="http://schemas.openxmlformats.org/officeDocument/2006/relationships/slideLayout" Target="../slideLayouts/slideLayout325.xml"/><Relationship Id="rId492" Type="http://schemas.openxmlformats.org/officeDocument/2006/relationships/slideLayout" Target="../slideLayouts/slideLayout507.xml"/><Relationship Id="rId91" Type="http://schemas.openxmlformats.org/officeDocument/2006/relationships/slideLayout" Target="../slideLayouts/slideLayout106.xml"/><Relationship Id="rId145" Type="http://schemas.openxmlformats.org/officeDocument/2006/relationships/slideLayout" Target="../slideLayouts/slideLayout160.xml"/><Relationship Id="rId187" Type="http://schemas.openxmlformats.org/officeDocument/2006/relationships/slideLayout" Target="../slideLayouts/slideLayout202.xml"/><Relationship Id="rId352" Type="http://schemas.openxmlformats.org/officeDocument/2006/relationships/slideLayout" Target="../slideLayouts/slideLayout367.xml"/><Relationship Id="rId394" Type="http://schemas.openxmlformats.org/officeDocument/2006/relationships/slideLayout" Target="../slideLayouts/slideLayout409.xml"/><Relationship Id="rId408" Type="http://schemas.openxmlformats.org/officeDocument/2006/relationships/slideLayout" Target="../slideLayouts/slideLayout423.xml"/><Relationship Id="rId212" Type="http://schemas.openxmlformats.org/officeDocument/2006/relationships/slideLayout" Target="../slideLayouts/slideLayout227.xml"/><Relationship Id="rId254" Type="http://schemas.openxmlformats.org/officeDocument/2006/relationships/slideLayout" Target="../slideLayouts/slideLayout269.xml"/><Relationship Id="rId49" Type="http://schemas.openxmlformats.org/officeDocument/2006/relationships/slideLayout" Target="../slideLayouts/slideLayout64.xml"/><Relationship Id="rId114" Type="http://schemas.openxmlformats.org/officeDocument/2006/relationships/slideLayout" Target="../slideLayouts/slideLayout129.xml"/><Relationship Id="rId296" Type="http://schemas.openxmlformats.org/officeDocument/2006/relationships/slideLayout" Target="../slideLayouts/slideLayout311.xml"/><Relationship Id="rId461" Type="http://schemas.openxmlformats.org/officeDocument/2006/relationships/slideLayout" Target="../slideLayouts/slideLayout476.xml"/><Relationship Id="rId60" Type="http://schemas.openxmlformats.org/officeDocument/2006/relationships/slideLayout" Target="../slideLayouts/slideLayout75.xml"/><Relationship Id="rId156" Type="http://schemas.openxmlformats.org/officeDocument/2006/relationships/slideLayout" Target="../slideLayouts/slideLayout171.xml"/><Relationship Id="rId198" Type="http://schemas.openxmlformats.org/officeDocument/2006/relationships/slideLayout" Target="../slideLayouts/slideLayout213.xml"/><Relationship Id="rId321" Type="http://schemas.openxmlformats.org/officeDocument/2006/relationships/slideLayout" Target="../slideLayouts/slideLayout336.xml"/><Relationship Id="rId363" Type="http://schemas.openxmlformats.org/officeDocument/2006/relationships/slideLayout" Target="../slideLayouts/slideLayout378.xml"/><Relationship Id="rId419" Type="http://schemas.openxmlformats.org/officeDocument/2006/relationships/slideLayout" Target="../slideLayouts/slideLayout434.xml"/><Relationship Id="rId223" Type="http://schemas.openxmlformats.org/officeDocument/2006/relationships/slideLayout" Target="../slideLayouts/slideLayout238.xml"/><Relationship Id="rId430" Type="http://schemas.openxmlformats.org/officeDocument/2006/relationships/slideLayout" Target="../slideLayouts/slideLayout445.xml"/><Relationship Id="rId18" Type="http://schemas.openxmlformats.org/officeDocument/2006/relationships/slideLayout" Target="../slideLayouts/slideLayout33.xml"/><Relationship Id="rId265" Type="http://schemas.openxmlformats.org/officeDocument/2006/relationships/slideLayout" Target="../slideLayouts/slideLayout280.xml"/><Relationship Id="rId472" Type="http://schemas.openxmlformats.org/officeDocument/2006/relationships/slideLayout" Target="../slideLayouts/slideLayout487.xml"/><Relationship Id="rId125" Type="http://schemas.openxmlformats.org/officeDocument/2006/relationships/slideLayout" Target="../slideLayouts/slideLayout140.xml"/><Relationship Id="rId167" Type="http://schemas.openxmlformats.org/officeDocument/2006/relationships/slideLayout" Target="../slideLayouts/slideLayout182.xml"/><Relationship Id="rId332" Type="http://schemas.openxmlformats.org/officeDocument/2006/relationships/slideLayout" Target="../slideLayouts/slideLayout347.xml"/><Relationship Id="rId374" Type="http://schemas.openxmlformats.org/officeDocument/2006/relationships/slideLayout" Target="../slideLayouts/slideLayout389.xml"/><Relationship Id="rId71" Type="http://schemas.openxmlformats.org/officeDocument/2006/relationships/slideLayout" Target="../slideLayouts/slideLayout86.xml"/><Relationship Id="rId234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17.xml"/><Relationship Id="rId29" Type="http://schemas.openxmlformats.org/officeDocument/2006/relationships/slideLayout" Target="../slideLayouts/slideLayout44.xml"/><Relationship Id="rId276" Type="http://schemas.openxmlformats.org/officeDocument/2006/relationships/slideLayout" Target="../slideLayouts/slideLayout291.xml"/><Relationship Id="rId441" Type="http://schemas.openxmlformats.org/officeDocument/2006/relationships/slideLayout" Target="../slideLayouts/slideLayout456.xml"/><Relationship Id="rId483" Type="http://schemas.openxmlformats.org/officeDocument/2006/relationships/slideLayout" Target="../slideLayouts/slideLayout498.xml"/><Relationship Id="rId40" Type="http://schemas.openxmlformats.org/officeDocument/2006/relationships/slideLayout" Target="../slideLayouts/slideLayout55.xml"/><Relationship Id="rId136" Type="http://schemas.openxmlformats.org/officeDocument/2006/relationships/slideLayout" Target="../slideLayouts/slideLayout151.xml"/><Relationship Id="rId178" Type="http://schemas.openxmlformats.org/officeDocument/2006/relationships/slideLayout" Target="../slideLayouts/slideLayout193.xml"/><Relationship Id="rId301" Type="http://schemas.openxmlformats.org/officeDocument/2006/relationships/slideLayout" Target="../slideLayouts/slideLayout316.xml"/><Relationship Id="rId343" Type="http://schemas.openxmlformats.org/officeDocument/2006/relationships/slideLayout" Target="../slideLayouts/slideLayout358.xml"/><Relationship Id="rId82" Type="http://schemas.openxmlformats.org/officeDocument/2006/relationships/slideLayout" Target="../slideLayouts/slideLayout97.xml"/><Relationship Id="rId203" Type="http://schemas.openxmlformats.org/officeDocument/2006/relationships/slideLayout" Target="../slideLayouts/slideLayout218.xml"/><Relationship Id="rId385" Type="http://schemas.openxmlformats.org/officeDocument/2006/relationships/slideLayout" Target="../slideLayouts/slideLayout400.xml"/><Relationship Id="rId245" Type="http://schemas.openxmlformats.org/officeDocument/2006/relationships/slideLayout" Target="../slideLayouts/slideLayout260.xml"/><Relationship Id="rId287" Type="http://schemas.openxmlformats.org/officeDocument/2006/relationships/slideLayout" Target="../slideLayouts/slideLayout302.xml"/><Relationship Id="rId410" Type="http://schemas.openxmlformats.org/officeDocument/2006/relationships/slideLayout" Target="../slideLayouts/slideLayout425.xml"/><Relationship Id="rId452" Type="http://schemas.openxmlformats.org/officeDocument/2006/relationships/slideLayout" Target="../slideLayouts/slideLayout467.xml"/><Relationship Id="rId494" Type="http://schemas.openxmlformats.org/officeDocument/2006/relationships/slideLayout" Target="../slideLayouts/slideLayout509.xml"/><Relationship Id="rId105" Type="http://schemas.openxmlformats.org/officeDocument/2006/relationships/slideLayout" Target="../slideLayouts/slideLayout120.xml"/><Relationship Id="rId147" Type="http://schemas.openxmlformats.org/officeDocument/2006/relationships/slideLayout" Target="../slideLayouts/slideLayout162.xml"/><Relationship Id="rId312" Type="http://schemas.openxmlformats.org/officeDocument/2006/relationships/slideLayout" Target="../slideLayouts/slideLayout327.xml"/><Relationship Id="rId354" Type="http://schemas.openxmlformats.org/officeDocument/2006/relationships/slideLayout" Target="../slideLayouts/slideLayout369.xml"/><Relationship Id="rId51" Type="http://schemas.openxmlformats.org/officeDocument/2006/relationships/slideLayout" Target="../slideLayouts/slideLayout66.xml"/><Relationship Id="rId93" Type="http://schemas.openxmlformats.org/officeDocument/2006/relationships/slideLayout" Target="../slideLayouts/slideLayout108.xml"/><Relationship Id="rId189" Type="http://schemas.openxmlformats.org/officeDocument/2006/relationships/slideLayout" Target="../slideLayouts/slideLayout204.xml"/><Relationship Id="rId396" Type="http://schemas.openxmlformats.org/officeDocument/2006/relationships/slideLayout" Target="../slideLayouts/slideLayout411.xml"/><Relationship Id="rId214" Type="http://schemas.openxmlformats.org/officeDocument/2006/relationships/slideLayout" Target="../slideLayouts/slideLayout229.xml"/><Relationship Id="rId256" Type="http://schemas.openxmlformats.org/officeDocument/2006/relationships/slideLayout" Target="../slideLayouts/slideLayout271.xml"/><Relationship Id="rId298" Type="http://schemas.openxmlformats.org/officeDocument/2006/relationships/slideLayout" Target="../slideLayouts/slideLayout313.xml"/><Relationship Id="rId421" Type="http://schemas.openxmlformats.org/officeDocument/2006/relationships/slideLayout" Target="../slideLayouts/slideLayout436.xml"/><Relationship Id="rId463" Type="http://schemas.openxmlformats.org/officeDocument/2006/relationships/slideLayout" Target="../slideLayouts/slideLayout478.xml"/><Relationship Id="rId116" Type="http://schemas.openxmlformats.org/officeDocument/2006/relationships/slideLayout" Target="../slideLayouts/slideLayout131.xml"/><Relationship Id="rId158" Type="http://schemas.openxmlformats.org/officeDocument/2006/relationships/slideLayout" Target="../slideLayouts/slideLayout173.xml"/><Relationship Id="rId323" Type="http://schemas.openxmlformats.org/officeDocument/2006/relationships/slideLayout" Target="../slideLayouts/slideLayout338.xml"/><Relationship Id="rId20" Type="http://schemas.openxmlformats.org/officeDocument/2006/relationships/slideLayout" Target="../slideLayouts/slideLayout35.xml"/><Relationship Id="rId62" Type="http://schemas.openxmlformats.org/officeDocument/2006/relationships/slideLayout" Target="../slideLayouts/slideLayout77.xml"/><Relationship Id="rId365" Type="http://schemas.openxmlformats.org/officeDocument/2006/relationships/slideLayout" Target="../slideLayouts/slideLayout380.xml"/><Relationship Id="rId225" Type="http://schemas.openxmlformats.org/officeDocument/2006/relationships/slideLayout" Target="../slideLayouts/slideLayout240.xml"/><Relationship Id="rId267" Type="http://schemas.openxmlformats.org/officeDocument/2006/relationships/slideLayout" Target="../slideLayouts/slideLayout282.xml"/><Relationship Id="rId432" Type="http://schemas.openxmlformats.org/officeDocument/2006/relationships/slideLayout" Target="../slideLayouts/slideLayout447.xml"/><Relationship Id="rId474" Type="http://schemas.openxmlformats.org/officeDocument/2006/relationships/slideLayout" Target="../slideLayouts/slideLayout489.xml"/><Relationship Id="rId106" Type="http://schemas.openxmlformats.org/officeDocument/2006/relationships/slideLayout" Target="../slideLayouts/slideLayout121.xml"/><Relationship Id="rId127" Type="http://schemas.openxmlformats.org/officeDocument/2006/relationships/slideLayout" Target="../slideLayouts/slideLayout142.xml"/><Relationship Id="rId313" Type="http://schemas.openxmlformats.org/officeDocument/2006/relationships/slideLayout" Target="../slideLayouts/slideLayout328.xml"/><Relationship Id="rId495" Type="http://schemas.openxmlformats.org/officeDocument/2006/relationships/slideLayout" Target="../slideLayouts/slideLayout510.xml"/><Relationship Id="rId10" Type="http://schemas.openxmlformats.org/officeDocument/2006/relationships/slideLayout" Target="../slideLayouts/slideLayout25.xml"/><Relationship Id="rId31" Type="http://schemas.openxmlformats.org/officeDocument/2006/relationships/slideLayout" Target="../slideLayouts/slideLayout46.xml"/><Relationship Id="rId52" Type="http://schemas.openxmlformats.org/officeDocument/2006/relationships/slideLayout" Target="../slideLayouts/slideLayout67.xml"/><Relationship Id="rId73" Type="http://schemas.openxmlformats.org/officeDocument/2006/relationships/slideLayout" Target="../slideLayouts/slideLayout88.xml"/><Relationship Id="rId94" Type="http://schemas.openxmlformats.org/officeDocument/2006/relationships/slideLayout" Target="../slideLayouts/slideLayout109.xml"/><Relationship Id="rId148" Type="http://schemas.openxmlformats.org/officeDocument/2006/relationships/slideLayout" Target="../slideLayouts/slideLayout163.xml"/><Relationship Id="rId169" Type="http://schemas.openxmlformats.org/officeDocument/2006/relationships/slideLayout" Target="../slideLayouts/slideLayout184.xml"/><Relationship Id="rId334" Type="http://schemas.openxmlformats.org/officeDocument/2006/relationships/slideLayout" Target="../slideLayouts/slideLayout349.xml"/><Relationship Id="rId355" Type="http://schemas.openxmlformats.org/officeDocument/2006/relationships/slideLayout" Target="../slideLayouts/slideLayout370.xml"/><Relationship Id="rId376" Type="http://schemas.openxmlformats.org/officeDocument/2006/relationships/slideLayout" Target="../slideLayouts/slideLayout391.xml"/><Relationship Id="rId397" Type="http://schemas.openxmlformats.org/officeDocument/2006/relationships/slideLayout" Target="../slideLayouts/slideLayout412.xml"/><Relationship Id="rId4" Type="http://schemas.openxmlformats.org/officeDocument/2006/relationships/slideLayout" Target="../slideLayouts/slideLayout19.xml"/><Relationship Id="rId180" Type="http://schemas.openxmlformats.org/officeDocument/2006/relationships/slideLayout" Target="../slideLayouts/slideLayout195.xml"/><Relationship Id="rId215" Type="http://schemas.openxmlformats.org/officeDocument/2006/relationships/slideLayout" Target="../slideLayouts/slideLayout230.xml"/><Relationship Id="rId236" Type="http://schemas.openxmlformats.org/officeDocument/2006/relationships/slideLayout" Target="../slideLayouts/slideLayout251.xml"/><Relationship Id="rId257" Type="http://schemas.openxmlformats.org/officeDocument/2006/relationships/slideLayout" Target="../slideLayouts/slideLayout272.xml"/><Relationship Id="rId278" Type="http://schemas.openxmlformats.org/officeDocument/2006/relationships/slideLayout" Target="../slideLayouts/slideLayout293.xml"/><Relationship Id="rId401" Type="http://schemas.openxmlformats.org/officeDocument/2006/relationships/slideLayout" Target="../slideLayouts/slideLayout416.xml"/><Relationship Id="rId422" Type="http://schemas.openxmlformats.org/officeDocument/2006/relationships/slideLayout" Target="../slideLayouts/slideLayout437.xml"/><Relationship Id="rId443" Type="http://schemas.openxmlformats.org/officeDocument/2006/relationships/slideLayout" Target="../slideLayouts/slideLayout458.xml"/><Relationship Id="rId464" Type="http://schemas.openxmlformats.org/officeDocument/2006/relationships/slideLayout" Target="../slideLayouts/slideLayout479.xml"/><Relationship Id="rId303" Type="http://schemas.openxmlformats.org/officeDocument/2006/relationships/slideLayout" Target="../slideLayouts/slideLayout318.xml"/><Relationship Id="rId485" Type="http://schemas.openxmlformats.org/officeDocument/2006/relationships/slideLayout" Target="../slideLayouts/slideLayout500.xml"/><Relationship Id="rId42" Type="http://schemas.openxmlformats.org/officeDocument/2006/relationships/slideLayout" Target="../slideLayouts/slideLayout57.xml"/><Relationship Id="rId84" Type="http://schemas.openxmlformats.org/officeDocument/2006/relationships/slideLayout" Target="../slideLayouts/slideLayout99.xml"/><Relationship Id="rId138" Type="http://schemas.openxmlformats.org/officeDocument/2006/relationships/slideLayout" Target="../slideLayouts/slideLayout153.xml"/><Relationship Id="rId345" Type="http://schemas.openxmlformats.org/officeDocument/2006/relationships/slideLayout" Target="../slideLayouts/slideLayout360.xml"/><Relationship Id="rId387" Type="http://schemas.openxmlformats.org/officeDocument/2006/relationships/slideLayout" Target="../slideLayouts/slideLayout402.xml"/><Relationship Id="rId191" Type="http://schemas.openxmlformats.org/officeDocument/2006/relationships/slideLayout" Target="../slideLayouts/slideLayout206.xml"/><Relationship Id="rId205" Type="http://schemas.openxmlformats.org/officeDocument/2006/relationships/slideLayout" Target="../slideLayouts/slideLayout220.xml"/><Relationship Id="rId247" Type="http://schemas.openxmlformats.org/officeDocument/2006/relationships/slideLayout" Target="../slideLayouts/slideLayout262.xml"/><Relationship Id="rId412" Type="http://schemas.openxmlformats.org/officeDocument/2006/relationships/slideLayout" Target="../slideLayouts/slideLayout427.xml"/><Relationship Id="rId107" Type="http://schemas.openxmlformats.org/officeDocument/2006/relationships/slideLayout" Target="../slideLayouts/slideLayout122.xml"/><Relationship Id="rId289" Type="http://schemas.openxmlformats.org/officeDocument/2006/relationships/slideLayout" Target="../slideLayouts/slideLayout304.xml"/><Relationship Id="rId454" Type="http://schemas.openxmlformats.org/officeDocument/2006/relationships/slideLayout" Target="../slideLayouts/slideLayout469.xml"/><Relationship Id="rId496" Type="http://schemas.openxmlformats.org/officeDocument/2006/relationships/slideLayout" Target="../slideLayouts/slideLayout511.xml"/><Relationship Id="rId11" Type="http://schemas.openxmlformats.org/officeDocument/2006/relationships/slideLayout" Target="../slideLayouts/slideLayout26.xml"/><Relationship Id="rId53" Type="http://schemas.openxmlformats.org/officeDocument/2006/relationships/slideLayout" Target="../slideLayouts/slideLayout68.xml"/><Relationship Id="rId149" Type="http://schemas.openxmlformats.org/officeDocument/2006/relationships/slideLayout" Target="../slideLayouts/slideLayout164.xml"/><Relationship Id="rId314" Type="http://schemas.openxmlformats.org/officeDocument/2006/relationships/slideLayout" Target="../slideLayouts/slideLayout329.xml"/><Relationship Id="rId356" Type="http://schemas.openxmlformats.org/officeDocument/2006/relationships/slideLayout" Target="../slideLayouts/slideLayout371.xml"/><Relationship Id="rId398" Type="http://schemas.openxmlformats.org/officeDocument/2006/relationships/slideLayout" Target="../slideLayouts/slideLayout413.xml"/><Relationship Id="rId95" Type="http://schemas.openxmlformats.org/officeDocument/2006/relationships/slideLayout" Target="../slideLayouts/slideLayout110.xml"/><Relationship Id="rId160" Type="http://schemas.openxmlformats.org/officeDocument/2006/relationships/slideLayout" Target="../slideLayouts/slideLayout175.xml"/><Relationship Id="rId216" Type="http://schemas.openxmlformats.org/officeDocument/2006/relationships/slideLayout" Target="../slideLayouts/slideLayout231.xml"/><Relationship Id="rId423" Type="http://schemas.openxmlformats.org/officeDocument/2006/relationships/slideLayout" Target="../slideLayouts/slideLayout438.xml"/><Relationship Id="rId258" Type="http://schemas.openxmlformats.org/officeDocument/2006/relationships/slideLayout" Target="../slideLayouts/slideLayout273.xml"/><Relationship Id="rId465" Type="http://schemas.openxmlformats.org/officeDocument/2006/relationships/slideLayout" Target="../slideLayouts/slideLayout480.xml"/><Relationship Id="rId22" Type="http://schemas.openxmlformats.org/officeDocument/2006/relationships/slideLayout" Target="../slideLayouts/slideLayout37.xml"/><Relationship Id="rId64" Type="http://schemas.openxmlformats.org/officeDocument/2006/relationships/slideLayout" Target="../slideLayouts/slideLayout79.xml"/><Relationship Id="rId118" Type="http://schemas.openxmlformats.org/officeDocument/2006/relationships/slideLayout" Target="../slideLayouts/slideLayout133.xml"/><Relationship Id="rId325" Type="http://schemas.openxmlformats.org/officeDocument/2006/relationships/slideLayout" Target="../slideLayouts/slideLayout340.xml"/><Relationship Id="rId367" Type="http://schemas.openxmlformats.org/officeDocument/2006/relationships/slideLayout" Target="../slideLayouts/slideLayout382.xml"/><Relationship Id="rId171" Type="http://schemas.openxmlformats.org/officeDocument/2006/relationships/slideLayout" Target="../slideLayouts/slideLayout186.xml"/><Relationship Id="rId227" Type="http://schemas.openxmlformats.org/officeDocument/2006/relationships/slideLayout" Target="../slideLayouts/slideLayout242.xml"/><Relationship Id="rId269" Type="http://schemas.openxmlformats.org/officeDocument/2006/relationships/slideLayout" Target="../slideLayouts/slideLayout284.xml"/><Relationship Id="rId434" Type="http://schemas.openxmlformats.org/officeDocument/2006/relationships/slideLayout" Target="../slideLayouts/slideLayout449.xml"/><Relationship Id="rId476" Type="http://schemas.openxmlformats.org/officeDocument/2006/relationships/slideLayout" Target="../slideLayouts/slideLayout491.xml"/><Relationship Id="rId33" Type="http://schemas.openxmlformats.org/officeDocument/2006/relationships/slideLayout" Target="../slideLayouts/slideLayout48.xml"/><Relationship Id="rId129" Type="http://schemas.openxmlformats.org/officeDocument/2006/relationships/slideLayout" Target="../slideLayouts/slideLayout144.xml"/><Relationship Id="rId280" Type="http://schemas.openxmlformats.org/officeDocument/2006/relationships/slideLayout" Target="../slideLayouts/slideLayout295.xml"/><Relationship Id="rId336" Type="http://schemas.openxmlformats.org/officeDocument/2006/relationships/slideLayout" Target="../slideLayouts/slideLayout351.xml"/><Relationship Id="rId75" Type="http://schemas.openxmlformats.org/officeDocument/2006/relationships/slideLayout" Target="../slideLayouts/slideLayout90.xml"/><Relationship Id="rId140" Type="http://schemas.openxmlformats.org/officeDocument/2006/relationships/slideLayout" Target="../slideLayouts/slideLayout155.xml"/><Relationship Id="rId182" Type="http://schemas.openxmlformats.org/officeDocument/2006/relationships/slideLayout" Target="../slideLayouts/slideLayout197.xml"/><Relationship Id="rId378" Type="http://schemas.openxmlformats.org/officeDocument/2006/relationships/slideLayout" Target="../slideLayouts/slideLayout393.xml"/><Relationship Id="rId403" Type="http://schemas.openxmlformats.org/officeDocument/2006/relationships/slideLayout" Target="../slideLayouts/slideLayout418.xml"/><Relationship Id="rId6" Type="http://schemas.openxmlformats.org/officeDocument/2006/relationships/slideLayout" Target="../slideLayouts/slideLayout21.xml"/><Relationship Id="rId238" Type="http://schemas.openxmlformats.org/officeDocument/2006/relationships/slideLayout" Target="../slideLayouts/slideLayout253.xml"/><Relationship Id="rId445" Type="http://schemas.openxmlformats.org/officeDocument/2006/relationships/slideLayout" Target="../slideLayouts/slideLayout460.xml"/><Relationship Id="rId487" Type="http://schemas.openxmlformats.org/officeDocument/2006/relationships/slideLayout" Target="../slideLayouts/slideLayout502.xml"/><Relationship Id="rId291" Type="http://schemas.openxmlformats.org/officeDocument/2006/relationships/slideLayout" Target="../slideLayouts/slideLayout306.xml"/><Relationship Id="rId305" Type="http://schemas.openxmlformats.org/officeDocument/2006/relationships/slideLayout" Target="../slideLayouts/slideLayout320.xml"/><Relationship Id="rId347" Type="http://schemas.openxmlformats.org/officeDocument/2006/relationships/slideLayout" Target="../slideLayouts/slideLayout362.xml"/><Relationship Id="rId44" Type="http://schemas.openxmlformats.org/officeDocument/2006/relationships/slideLayout" Target="../slideLayouts/slideLayout59.xml"/><Relationship Id="rId86" Type="http://schemas.openxmlformats.org/officeDocument/2006/relationships/slideLayout" Target="../slideLayouts/slideLayout101.xml"/><Relationship Id="rId151" Type="http://schemas.openxmlformats.org/officeDocument/2006/relationships/slideLayout" Target="../slideLayouts/slideLayout166.xml"/><Relationship Id="rId389" Type="http://schemas.openxmlformats.org/officeDocument/2006/relationships/slideLayout" Target="../slideLayouts/slideLayout404.xml"/><Relationship Id="rId193" Type="http://schemas.openxmlformats.org/officeDocument/2006/relationships/slideLayout" Target="../slideLayouts/slideLayout208.xml"/><Relationship Id="rId207" Type="http://schemas.openxmlformats.org/officeDocument/2006/relationships/slideLayout" Target="../slideLayouts/slideLayout222.xml"/><Relationship Id="rId249" Type="http://schemas.openxmlformats.org/officeDocument/2006/relationships/slideLayout" Target="../slideLayouts/slideLayout264.xml"/><Relationship Id="rId414" Type="http://schemas.openxmlformats.org/officeDocument/2006/relationships/slideLayout" Target="../slideLayouts/slideLayout429.xml"/><Relationship Id="rId456" Type="http://schemas.openxmlformats.org/officeDocument/2006/relationships/slideLayout" Target="../slideLayouts/slideLayout471.xml"/><Relationship Id="rId498" Type="http://schemas.openxmlformats.org/officeDocument/2006/relationships/theme" Target="../theme/theme2.xml"/><Relationship Id="rId13" Type="http://schemas.openxmlformats.org/officeDocument/2006/relationships/slideLayout" Target="../slideLayouts/slideLayout28.xml"/><Relationship Id="rId109" Type="http://schemas.openxmlformats.org/officeDocument/2006/relationships/slideLayout" Target="../slideLayouts/slideLayout124.xml"/><Relationship Id="rId260" Type="http://schemas.openxmlformats.org/officeDocument/2006/relationships/slideLayout" Target="../slideLayouts/slideLayout275.xml"/><Relationship Id="rId316" Type="http://schemas.openxmlformats.org/officeDocument/2006/relationships/slideLayout" Target="../slideLayouts/slideLayout331.xml"/><Relationship Id="rId55" Type="http://schemas.openxmlformats.org/officeDocument/2006/relationships/slideLayout" Target="../slideLayouts/slideLayout70.xml"/><Relationship Id="rId97" Type="http://schemas.openxmlformats.org/officeDocument/2006/relationships/slideLayout" Target="../slideLayouts/slideLayout112.xml"/><Relationship Id="rId120" Type="http://schemas.openxmlformats.org/officeDocument/2006/relationships/slideLayout" Target="../slideLayouts/slideLayout135.xml"/><Relationship Id="rId358" Type="http://schemas.openxmlformats.org/officeDocument/2006/relationships/slideLayout" Target="../slideLayouts/slideLayout373.xml"/><Relationship Id="rId162" Type="http://schemas.openxmlformats.org/officeDocument/2006/relationships/slideLayout" Target="../slideLayouts/slideLayout177.xml"/><Relationship Id="rId218" Type="http://schemas.openxmlformats.org/officeDocument/2006/relationships/slideLayout" Target="../slideLayouts/slideLayout233.xml"/><Relationship Id="rId425" Type="http://schemas.openxmlformats.org/officeDocument/2006/relationships/slideLayout" Target="../slideLayouts/slideLayout440.xml"/><Relationship Id="rId467" Type="http://schemas.openxmlformats.org/officeDocument/2006/relationships/slideLayout" Target="../slideLayouts/slideLayout482.xml"/><Relationship Id="rId271" Type="http://schemas.openxmlformats.org/officeDocument/2006/relationships/slideLayout" Target="../slideLayouts/slideLayout286.xml"/><Relationship Id="rId24" Type="http://schemas.openxmlformats.org/officeDocument/2006/relationships/slideLayout" Target="../slideLayouts/slideLayout39.xml"/><Relationship Id="rId66" Type="http://schemas.openxmlformats.org/officeDocument/2006/relationships/slideLayout" Target="../slideLayouts/slideLayout81.xml"/><Relationship Id="rId131" Type="http://schemas.openxmlformats.org/officeDocument/2006/relationships/slideLayout" Target="../slideLayouts/slideLayout146.xml"/><Relationship Id="rId327" Type="http://schemas.openxmlformats.org/officeDocument/2006/relationships/slideLayout" Target="../slideLayouts/slideLayout342.xml"/><Relationship Id="rId369" Type="http://schemas.openxmlformats.org/officeDocument/2006/relationships/slideLayout" Target="../slideLayouts/slideLayout384.xml"/><Relationship Id="rId173" Type="http://schemas.openxmlformats.org/officeDocument/2006/relationships/slideLayout" Target="../slideLayouts/slideLayout188.xml"/><Relationship Id="rId229" Type="http://schemas.openxmlformats.org/officeDocument/2006/relationships/slideLayout" Target="../slideLayouts/slideLayout244.xml"/><Relationship Id="rId380" Type="http://schemas.openxmlformats.org/officeDocument/2006/relationships/slideLayout" Target="../slideLayouts/slideLayout395.xml"/><Relationship Id="rId436" Type="http://schemas.openxmlformats.org/officeDocument/2006/relationships/slideLayout" Target="../slideLayouts/slideLayout451.xml"/><Relationship Id="rId240" Type="http://schemas.openxmlformats.org/officeDocument/2006/relationships/slideLayout" Target="../slideLayouts/slideLayout255.xml"/><Relationship Id="rId478" Type="http://schemas.openxmlformats.org/officeDocument/2006/relationships/slideLayout" Target="../slideLayouts/slideLayout493.xml"/><Relationship Id="rId35" Type="http://schemas.openxmlformats.org/officeDocument/2006/relationships/slideLayout" Target="../slideLayouts/slideLayout50.xml"/><Relationship Id="rId77" Type="http://schemas.openxmlformats.org/officeDocument/2006/relationships/slideLayout" Target="../slideLayouts/slideLayout92.xml"/><Relationship Id="rId100" Type="http://schemas.openxmlformats.org/officeDocument/2006/relationships/slideLayout" Target="../slideLayouts/slideLayout115.xml"/><Relationship Id="rId282" Type="http://schemas.openxmlformats.org/officeDocument/2006/relationships/slideLayout" Target="../slideLayouts/slideLayout297.xml"/><Relationship Id="rId338" Type="http://schemas.openxmlformats.org/officeDocument/2006/relationships/slideLayout" Target="../slideLayouts/slideLayout353.xml"/><Relationship Id="rId8" Type="http://schemas.openxmlformats.org/officeDocument/2006/relationships/slideLayout" Target="../slideLayouts/slideLayout23.xml"/><Relationship Id="rId142" Type="http://schemas.openxmlformats.org/officeDocument/2006/relationships/slideLayout" Target="../slideLayouts/slideLayout157.xml"/><Relationship Id="rId184" Type="http://schemas.openxmlformats.org/officeDocument/2006/relationships/slideLayout" Target="../slideLayouts/slideLayout199.xml"/><Relationship Id="rId391" Type="http://schemas.openxmlformats.org/officeDocument/2006/relationships/slideLayout" Target="../slideLayouts/slideLayout406.xml"/><Relationship Id="rId405" Type="http://schemas.openxmlformats.org/officeDocument/2006/relationships/slideLayout" Target="../slideLayouts/slideLayout420.xml"/><Relationship Id="rId447" Type="http://schemas.openxmlformats.org/officeDocument/2006/relationships/slideLayout" Target="../slideLayouts/slideLayout462.xml"/><Relationship Id="rId251" Type="http://schemas.openxmlformats.org/officeDocument/2006/relationships/slideLayout" Target="../slideLayouts/slideLayout266.xml"/><Relationship Id="rId489" Type="http://schemas.openxmlformats.org/officeDocument/2006/relationships/slideLayout" Target="../slideLayouts/slideLayout504.xml"/><Relationship Id="rId46" Type="http://schemas.openxmlformats.org/officeDocument/2006/relationships/slideLayout" Target="../slideLayouts/slideLayout61.xml"/><Relationship Id="rId293" Type="http://schemas.openxmlformats.org/officeDocument/2006/relationships/slideLayout" Target="../slideLayouts/slideLayout308.xml"/><Relationship Id="rId307" Type="http://schemas.openxmlformats.org/officeDocument/2006/relationships/slideLayout" Target="../slideLayouts/slideLayout322.xml"/><Relationship Id="rId349" Type="http://schemas.openxmlformats.org/officeDocument/2006/relationships/slideLayout" Target="../slideLayouts/slideLayout364.xml"/><Relationship Id="rId88" Type="http://schemas.openxmlformats.org/officeDocument/2006/relationships/slideLayout" Target="../slideLayouts/slideLayout103.xml"/><Relationship Id="rId111" Type="http://schemas.openxmlformats.org/officeDocument/2006/relationships/slideLayout" Target="../slideLayouts/slideLayout126.xml"/><Relationship Id="rId153" Type="http://schemas.openxmlformats.org/officeDocument/2006/relationships/slideLayout" Target="../slideLayouts/slideLayout168.xml"/><Relationship Id="rId195" Type="http://schemas.openxmlformats.org/officeDocument/2006/relationships/slideLayout" Target="../slideLayouts/slideLayout210.xml"/><Relationship Id="rId209" Type="http://schemas.openxmlformats.org/officeDocument/2006/relationships/slideLayout" Target="../slideLayouts/slideLayout224.xml"/><Relationship Id="rId360" Type="http://schemas.openxmlformats.org/officeDocument/2006/relationships/slideLayout" Target="../slideLayouts/slideLayout375.xml"/><Relationship Id="rId416" Type="http://schemas.openxmlformats.org/officeDocument/2006/relationships/slideLayout" Target="../slideLayouts/slideLayout431.xml"/><Relationship Id="rId220" Type="http://schemas.openxmlformats.org/officeDocument/2006/relationships/slideLayout" Target="../slideLayouts/slideLayout235.xml"/><Relationship Id="rId458" Type="http://schemas.openxmlformats.org/officeDocument/2006/relationships/slideLayout" Target="../slideLayouts/slideLayout473.xml"/><Relationship Id="rId15" Type="http://schemas.openxmlformats.org/officeDocument/2006/relationships/slideLayout" Target="../slideLayouts/slideLayout30.xml"/><Relationship Id="rId57" Type="http://schemas.openxmlformats.org/officeDocument/2006/relationships/slideLayout" Target="../slideLayouts/slideLayout72.xml"/><Relationship Id="rId262" Type="http://schemas.openxmlformats.org/officeDocument/2006/relationships/slideLayout" Target="../slideLayouts/slideLayout277.xml"/><Relationship Id="rId318" Type="http://schemas.openxmlformats.org/officeDocument/2006/relationships/slideLayout" Target="../slideLayouts/slideLayout333.xml"/><Relationship Id="rId99" Type="http://schemas.openxmlformats.org/officeDocument/2006/relationships/slideLayout" Target="../slideLayouts/slideLayout114.xml"/><Relationship Id="rId122" Type="http://schemas.openxmlformats.org/officeDocument/2006/relationships/slideLayout" Target="../slideLayouts/slideLayout137.xml"/><Relationship Id="rId164" Type="http://schemas.openxmlformats.org/officeDocument/2006/relationships/slideLayout" Target="../slideLayouts/slideLayout179.xml"/><Relationship Id="rId371" Type="http://schemas.openxmlformats.org/officeDocument/2006/relationships/slideLayout" Target="../slideLayouts/slideLayout386.xml"/><Relationship Id="rId427" Type="http://schemas.openxmlformats.org/officeDocument/2006/relationships/slideLayout" Target="../slideLayouts/slideLayout442.xml"/><Relationship Id="rId469" Type="http://schemas.openxmlformats.org/officeDocument/2006/relationships/slideLayout" Target="../slideLayouts/slideLayout484.xml"/><Relationship Id="rId26" Type="http://schemas.openxmlformats.org/officeDocument/2006/relationships/slideLayout" Target="../slideLayouts/slideLayout41.xml"/><Relationship Id="rId231" Type="http://schemas.openxmlformats.org/officeDocument/2006/relationships/slideLayout" Target="../slideLayouts/slideLayout246.xml"/><Relationship Id="rId273" Type="http://schemas.openxmlformats.org/officeDocument/2006/relationships/slideLayout" Target="../slideLayouts/slideLayout288.xml"/><Relationship Id="rId329" Type="http://schemas.openxmlformats.org/officeDocument/2006/relationships/slideLayout" Target="../slideLayouts/slideLayout344.xml"/><Relationship Id="rId480" Type="http://schemas.openxmlformats.org/officeDocument/2006/relationships/slideLayout" Target="../slideLayouts/slideLayout495.xml"/><Relationship Id="rId68" Type="http://schemas.openxmlformats.org/officeDocument/2006/relationships/slideLayout" Target="../slideLayouts/slideLayout83.xml"/><Relationship Id="rId133" Type="http://schemas.openxmlformats.org/officeDocument/2006/relationships/slideLayout" Target="../slideLayouts/slideLayout148.xml"/><Relationship Id="rId175" Type="http://schemas.openxmlformats.org/officeDocument/2006/relationships/slideLayout" Target="../slideLayouts/slideLayout190.xml"/><Relationship Id="rId340" Type="http://schemas.openxmlformats.org/officeDocument/2006/relationships/slideLayout" Target="../slideLayouts/slideLayout355.xml"/><Relationship Id="rId200" Type="http://schemas.openxmlformats.org/officeDocument/2006/relationships/slideLayout" Target="../slideLayouts/slideLayout215.xml"/><Relationship Id="rId382" Type="http://schemas.openxmlformats.org/officeDocument/2006/relationships/slideLayout" Target="../slideLayouts/slideLayout397.xml"/><Relationship Id="rId438" Type="http://schemas.openxmlformats.org/officeDocument/2006/relationships/slideLayout" Target="../slideLayouts/slideLayout453.xml"/><Relationship Id="rId242" Type="http://schemas.openxmlformats.org/officeDocument/2006/relationships/slideLayout" Target="../slideLayouts/slideLayout257.xml"/><Relationship Id="rId284" Type="http://schemas.openxmlformats.org/officeDocument/2006/relationships/slideLayout" Target="../slideLayouts/slideLayout299.xml"/><Relationship Id="rId491" Type="http://schemas.openxmlformats.org/officeDocument/2006/relationships/slideLayout" Target="../slideLayouts/slideLayout506.xml"/><Relationship Id="rId37" Type="http://schemas.openxmlformats.org/officeDocument/2006/relationships/slideLayout" Target="../slideLayouts/slideLayout52.xml"/><Relationship Id="rId79" Type="http://schemas.openxmlformats.org/officeDocument/2006/relationships/slideLayout" Target="../slideLayouts/slideLayout94.xml"/><Relationship Id="rId102" Type="http://schemas.openxmlformats.org/officeDocument/2006/relationships/slideLayout" Target="../slideLayouts/slideLayout117.xml"/><Relationship Id="rId144" Type="http://schemas.openxmlformats.org/officeDocument/2006/relationships/slideLayout" Target="../slideLayouts/slideLayout159.xml"/><Relationship Id="rId90" Type="http://schemas.openxmlformats.org/officeDocument/2006/relationships/slideLayout" Target="../slideLayouts/slideLayout105.xml"/><Relationship Id="rId186" Type="http://schemas.openxmlformats.org/officeDocument/2006/relationships/slideLayout" Target="../slideLayouts/slideLayout201.xml"/><Relationship Id="rId351" Type="http://schemas.openxmlformats.org/officeDocument/2006/relationships/slideLayout" Target="../slideLayouts/slideLayout366.xml"/><Relationship Id="rId393" Type="http://schemas.openxmlformats.org/officeDocument/2006/relationships/slideLayout" Target="../slideLayouts/slideLayout408.xml"/><Relationship Id="rId407" Type="http://schemas.openxmlformats.org/officeDocument/2006/relationships/slideLayout" Target="../slideLayouts/slideLayout422.xml"/><Relationship Id="rId449" Type="http://schemas.openxmlformats.org/officeDocument/2006/relationships/slideLayout" Target="../slideLayouts/slideLayout464.xml"/><Relationship Id="rId211" Type="http://schemas.openxmlformats.org/officeDocument/2006/relationships/slideLayout" Target="../slideLayouts/slideLayout226.xml"/><Relationship Id="rId253" Type="http://schemas.openxmlformats.org/officeDocument/2006/relationships/slideLayout" Target="../slideLayouts/slideLayout268.xml"/><Relationship Id="rId295" Type="http://schemas.openxmlformats.org/officeDocument/2006/relationships/slideLayout" Target="../slideLayouts/slideLayout310.xml"/><Relationship Id="rId309" Type="http://schemas.openxmlformats.org/officeDocument/2006/relationships/slideLayout" Target="../slideLayouts/slideLayout324.xml"/><Relationship Id="rId460" Type="http://schemas.openxmlformats.org/officeDocument/2006/relationships/slideLayout" Target="../slideLayouts/slideLayout475.xml"/><Relationship Id="rId48" Type="http://schemas.openxmlformats.org/officeDocument/2006/relationships/slideLayout" Target="../slideLayouts/slideLayout63.xml"/><Relationship Id="rId113" Type="http://schemas.openxmlformats.org/officeDocument/2006/relationships/slideLayout" Target="../slideLayouts/slideLayout128.xml"/><Relationship Id="rId320" Type="http://schemas.openxmlformats.org/officeDocument/2006/relationships/slideLayout" Target="../slideLayouts/slideLayout335.xml"/><Relationship Id="rId155" Type="http://schemas.openxmlformats.org/officeDocument/2006/relationships/slideLayout" Target="../slideLayouts/slideLayout170.xml"/><Relationship Id="rId197" Type="http://schemas.openxmlformats.org/officeDocument/2006/relationships/slideLayout" Target="../slideLayouts/slideLayout212.xml"/><Relationship Id="rId362" Type="http://schemas.openxmlformats.org/officeDocument/2006/relationships/slideLayout" Target="../slideLayouts/slideLayout377.xml"/><Relationship Id="rId418" Type="http://schemas.openxmlformats.org/officeDocument/2006/relationships/slideLayout" Target="../slideLayouts/slideLayout433.xml"/><Relationship Id="rId222" Type="http://schemas.openxmlformats.org/officeDocument/2006/relationships/slideLayout" Target="../slideLayouts/slideLayout237.xml"/><Relationship Id="rId264" Type="http://schemas.openxmlformats.org/officeDocument/2006/relationships/slideLayout" Target="../slideLayouts/slideLayout279.xml"/><Relationship Id="rId471" Type="http://schemas.openxmlformats.org/officeDocument/2006/relationships/slideLayout" Target="../slideLayouts/slideLayout486.xml"/><Relationship Id="rId17" Type="http://schemas.openxmlformats.org/officeDocument/2006/relationships/slideLayout" Target="../slideLayouts/slideLayout32.xml"/><Relationship Id="rId59" Type="http://schemas.openxmlformats.org/officeDocument/2006/relationships/slideLayout" Target="../slideLayouts/slideLayout74.xml"/><Relationship Id="rId124" Type="http://schemas.openxmlformats.org/officeDocument/2006/relationships/slideLayout" Target="../slideLayouts/slideLayout139.xml"/><Relationship Id="rId70" Type="http://schemas.openxmlformats.org/officeDocument/2006/relationships/slideLayout" Target="../slideLayouts/slideLayout85.xml"/><Relationship Id="rId166" Type="http://schemas.openxmlformats.org/officeDocument/2006/relationships/slideLayout" Target="../slideLayouts/slideLayout181.xml"/><Relationship Id="rId331" Type="http://schemas.openxmlformats.org/officeDocument/2006/relationships/slideLayout" Target="../slideLayouts/slideLayout346.xml"/><Relationship Id="rId373" Type="http://schemas.openxmlformats.org/officeDocument/2006/relationships/slideLayout" Target="../slideLayouts/slideLayout388.xml"/><Relationship Id="rId429" Type="http://schemas.openxmlformats.org/officeDocument/2006/relationships/slideLayout" Target="../slideLayouts/slideLayout444.xml"/><Relationship Id="rId1" Type="http://schemas.openxmlformats.org/officeDocument/2006/relationships/slideLayout" Target="../slideLayouts/slideLayout16.xml"/><Relationship Id="rId233" Type="http://schemas.openxmlformats.org/officeDocument/2006/relationships/slideLayout" Target="../slideLayouts/slideLayout248.xml"/><Relationship Id="rId440" Type="http://schemas.openxmlformats.org/officeDocument/2006/relationships/slideLayout" Target="../slideLayouts/slideLayout455.xml"/><Relationship Id="rId28" Type="http://schemas.openxmlformats.org/officeDocument/2006/relationships/slideLayout" Target="../slideLayouts/slideLayout43.xml"/><Relationship Id="rId275" Type="http://schemas.openxmlformats.org/officeDocument/2006/relationships/slideLayout" Target="../slideLayouts/slideLayout290.xml"/><Relationship Id="rId300" Type="http://schemas.openxmlformats.org/officeDocument/2006/relationships/slideLayout" Target="../slideLayouts/slideLayout315.xml"/><Relationship Id="rId482" Type="http://schemas.openxmlformats.org/officeDocument/2006/relationships/slideLayout" Target="../slideLayouts/slideLayout497.xml"/><Relationship Id="rId81" Type="http://schemas.openxmlformats.org/officeDocument/2006/relationships/slideLayout" Target="../slideLayouts/slideLayout96.xml"/><Relationship Id="rId135" Type="http://schemas.openxmlformats.org/officeDocument/2006/relationships/slideLayout" Target="../slideLayouts/slideLayout150.xml"/><Relationship Id="rId177" Type="http://schemas.openxmlformats.org/officeDocument/2006/relationships/slideLayout" Target="../slideLayouts/slideLayout192.xml"/><Relationship Id="rId342" Type="http://schemas.openxmlformats.org/officeDocument/2006/relationships/slideLayout" Target="../slideLayouts/slideLayout357.xml"/><Relationship Id="rId384" Type="http://schemas.openxmlformats.org/officeDocument/2006/relationships/slideLayout" Target="../slideLayouts/slideLayout399.xml"/><Relationship Id="rId202" Type="http://schemas.openxmlformats.org/officeDocument/2006/relationships/slideLayout" Target="../slideLayouts/slideLayout217.xml"/><Relationship Id="rId244" Type="http://schemas.openxmlformats.org/officeDocument/2006/relationships/slideLayout" Target="../slideLayouts/slideLayout259.xml"/><Relationship Id="rId39" Type="http://schemas.openxmlformats.org/officeDocument/2006/relationships/slideLayout" Target="../slideLayouts/slideLayout54.xml"/><Relationship Id="rId286" Type="http://schemas.openxmlformats.org/officeDocument/2006/relationships/slideLayout" Target="../slideLayouts/slideLayout301.xml"/><Relationship Id="rId451" Type="http://schemas.openxmlformats.org/officeDocument/2006/relationships/slideLayout" Target="../slideLayouts/slideLayout466.xml"/><Relationship Id="rId493" Type="http://schemas.openxmlformats.org/officeDocument/2006/relationships/slideLayout" Target="../slideLayouts/slideLayout508.xml"/><Relationship Id="rId50" Type="http://schemas.openxmlformats.org/officeDocument/2006/relationships/slideLayout" Target="../slideLayouts/slideLayout65.xml"/><Relationship Id="rId104" Type="http://schemas.openxmlformats.org/officeDocument/2006/relationships/slideLayout" Target="../slideLayouts/slideLayout119.xml"/><Relationship Id="rId146" Type="http://schemas.openxmlformats.org/officeDocument/2006/relationships/slideLayout" Target="../slideLayouts/slideLayout161.xml"/><Relationship Id="rId188" Type="http://schemas.openxmlformats.org/officeDocument/2006/relationships/slideLayout" Target="../slideLayouts/slideLayout203.xml"/><Relationship Id="rId311" Type="http://schemas.openxmlformats.org/officeDocument/2006/relationships/slideLayout" Target="../slideLayouts/slideLayout326.xml"/><Relationship Id="rId353" Type="http://schemas.openxmlformats.org/officeDocument/2006/relationships/slideLayout" Target="../slideLayouts/slideLayout368.xml"/><Relationship Id="rId395" Type="http://schemas.openxmlformats.org/officeDocument/2006/relationships/slideLayout" Target="../slideLayouts/slideLayout410.xml"/><Relationship Id="rId409" Type="http://schemas.openxmlformats.org/officeDocument/2006/relationships/slideLayout" Target="../slideLayouts/slideLayout424.xml"/><Relationship Id="rId92" Type="http://schemas.openxmlformats.org/officeDocument/2006/relationships/slideLayout" Target="../slideLayouts/slideLayout107.xml"/><Relationship Id="rId213" Type="http://schemas.openxmlformats.org/officeDocument/2006/relationships/slideLayout" Target="../slideLayouts/slideLayout228.xml"/><Relationship Id="rId420" Type="http://schemas.openxmlformats.org/officeDocument/2006/relationships/slideLayout" Target="../slideLayouts/slideLayout435.xml"/><Relationship Id="rId255" Type="http://schemas.openxmlformats.org/officeDocument/2006/relationships/slideLayout" Target="../slideLayouts/slideLayout270.xml"/><Relationship Id="rId297" Type="http://schemas.openxmlformats.org/officeDocument/2006/relationships/slideLayout" Target="../slideLayouts/slideLayout312.xml"/><Relationship Id="rId462" Type="http://schemas.openxmlformats.org/officeDocument/2006/relationships/slideLayout" Target="../slideLayouts/slideLayout477.xml"/><Relationship Id="rId115" Type="http://schemas.openxmlformats.org/officeDocument/2006/relationships/slideLayout" Target="../slideLayouts/slideLayout130.xml"/><Relationship Id="rId157" Type="http://schemas.openxmlformats.org/officeDocument/2006/relationships/slideLayout" Target="../slideLayouts/slideLayout172.xml"/><Relationship Id="rId322" Type="http://schemas.openxmlformats.org/officeDocument/2006/relationships/slideLayout" Target="../slideLayouts/slideLayout337.xml"/><Relationship Id="rId364" Type="http://schemas.openxmlformats.org/officeDocument/2006/relationships/slideLayout" Target="../slideLayouts/slideLayout379.xml"/><Relationship Id="rId61" Type="http://schemas.openxmlformats.org/officeDocument/2006/relationships/slideLayout" Target="../slideLayouts/slideLayout76.xml"/><Relationship Id="rId199" Type="http://schemas.openxmlformats.org/officeDocument/2006/relationships/slideLayout" Target="../slideLayouts/slideLayout214.xml"/><Relationship Id="rId19" Type="http://schemas.openxmlformats.org/officeDocument/2006/relationships/slideLayout" Target="../slideLayouts/slideLayout34.xml"/><Relationship Id="rId224" Type="http://schemas.openxmlformats.org/officeDocument/2006/relationships/slideLayout" Target="../slideLayouts/slideLayout239.xml"/><Relationship Id="rId266" Type="http://schemas.openxmlformats.org/officeDocument/2006/relationships/slideLayout" Target="../slideLayouts/slideLayout281.xml"/><Relationship Id="rId431" Type="http://schemas.openxmlformats.org/officeDocument/2006/relationships/slideLayout" Target="../slideLayouts/slideLayout446.xml"/><Relationship Id="rId473" Type="http://schemas.openxmlformats.org/officeDocument/2006/relationships/slideLayout" Target="../slideLayouts/slideLayout488.xml"/><Relationship Id="rId30" Type="http://schemas.openxmlformats.org/officeDocument/2006/relationships/slideLayout" Target="../slideLayouts/slideLayout45.xml"/><Relationship Id="rId126" Type="http://schemas.openxmlformats.org/officeDocument/2006/relationships/slideLayout" Target="../slideLayouts/slideLayout141.xml"/><Relationship Id="rId168" Type="http://schemas.openxmlformats.org/officeDocument/2006/relationships/slideLayout" Target="../slideLayouts/slideLayout183.xml"/><Relationship Id="rId333" Type="http://schemas.openxmlformats.org/officeDocument/2006/relationships/slideLayout" Target="../slideLayouts/slideLayout348.xml"/><Relationship Id="rId72" Type="http://schemas.openxmlformats.org/officeDocument/2006/relationships/slideLayout" Target="../slideLayouts/slideLayout87.xml"/><Relationship Id="rId375" Type="http://schemas.openxmlformats.org/officeDocument/2006/relationships/slideLayout" Target="../slideLayouts/slideLayout390.xml"/><Relationship Id="rId3" Type="http://schemas.openxmlformats.org/officeDocument/2006/relationships/slideLayout" Target="../slideLayouts/slideLayout18.xml"/><Relationship Id="rId235" Type="http://schemas.openxmlformats.org/officeDocument/2006/relationships/slideLayout" Target="../slideLayouts/slideLayout250.xml"/><Relationship Id="rId277" Type="http://schemas.openxmlformats.org/officeDocument/2006/relationships/slideLayout" Target="../slideLayouts/slideLayout292.xml"/><Relationship Id="rId400" Type="http://schemas.openxmlformats.org/officeDocument/2006/relationships/slideLayout" Target="../slideLayouts/slideLayout415.xml"/><Relationship Id="rId442" Type="http://schemas.openxmlformats.org/officeDocument/2006/relationships/slideLayout" Target="../slideLayouts/slideLayout457.xml"/><Relationship Id="rId484" Type="http://schemas.openxmlformats.org/officeDocument/2006/relationships/slideLayout" Target="../slideLayouts/slideLayout499.xml"/><Relationship Id="rId137" Type="http://schemas.openxmlformats.org/officeDocument/2006/relationships/slideLayout" Target="../slideLayouts/slideLayout152.xml"/><Relationship Id="rId302" Type="http://schemas.openxmlformats.org/officeDocument/2006/relationships/slideLayout" Target="../slideLayouts/slideLayout317.xml"/><Relationship Id="rId344" Type="http://schemas.openxmlformats.org/officeDocument/2006/relationships/slideLayout" Target="../slideLayouts/slideLayout359.xml"/><Relationship Id="rId41" Type="http://schemas.openxmlformats.org/officeDocument/2006/relationships/slideLayout" Target="../slideLayouts/slideLayout56.xml"/><Relationship Id="rId83" Type="http://schemas.openxmlformats.org/officeDocument/2006/relationships/slideLayout" Target="../slideLayouts/slideLayout98.xml"/><Relationship Id="rId179" Type="http://schemas.openxmlformats.org/officeDocument/2006/relationships/slideLayout" Target="../slideLayouts/slideLayout194.xml"/><Relationship Id="rId386" Type="http://schemas.openxmlformats.org/officeDocument/2006/relationships/slideLayout" Target="../slideLayouts/slideLayout401.xml"/><Relationship Id="rId190" Type="http://schemas.openxmlformats.org/officeDocument/2006/relationships/slideLayout" Target="../slideLayouts/slideLayout205.xml"/><Relationship Id="rId204" Type="http://schemas.openxmlformats.org/officeDocument/2006/relationships/slideLayout" Target="../slideLayouts/slideLayout219.xml"/><Relationship Id="rId246" Type="http://schemas.openxmlformats.org/officeDocument/2006/relationships/slideLayout" Target="../slideLayouts/slideLayout261.xml"/><Relationship Id="rId288" Type="http://schemas.openxmlformats.org/officeDocument/2006/relationships/slideLayout" Target="../slideLayouts/slideLayout303.xml"/><Relationship Id="rId411" Type="http://schemas.openxmlformats.org/officeDocument/2006/relationships/slideLayout" Target="../slideLayouts/slideLayout426.xml"/><Relationship Id="rId453" Type="http://schemas.openxmlformats.org/officeDocument/2006/relationships/slideLayout" Target="../slideLayouts/slideLayout468.xml"/></Relationships>
</file>

<file path=ppt/slideMasters/_rels/slideMaster3.xml.rels><?xml version="1.0" encoding="UTF-8" standalone="yes"?>
<Relationships xmlns="http://schemas.openxmlformats.org/package/2006/relationships"><Relationship Id="rId117" Type="http://schemas.openxmlformats.org/officeDocument/2006/relationships/slideLayout" Target="../slideLayouts/slideLayout629.xml"/><Relationship Id="rId21" Type="http://schemas.openxmlformats.org/officeDocument/2006/relationships/slideLayout" Target="../slideLayouts/slideLayout533.xml"/><Relationship Id="rId42" Type="http://schemas.openxmlformats.org/officeDocument/2006/relationships/slideLayout" Target="../slideLayouts/slideLayout554.xml"/><Relationship Id="rId63" Type="http://schemas.openxmlformats.org/officeDocument/2006/relationships/slideLayout" Target="../slideLayouts/slideLayout575.xml"/><Relationship Id="rId84" Type="http://schemas.openxmlformats.org/officeDocument/2006/relationships/slideLayout" Target="../slideLayouts/slideLayout596.xml"/><Relationship Id="rId138" Type="http://schemas.openxmlformats.org/officeDocument/2006/relationships/slideLayout" Target="../slideLayouts/slideLayout650.xml"/><Relationship Id="rId159" Type="http://schemas.openxmlformats.org/officeDocument/2006/relationships/slideLayout" Target="../slideLayouts/slideLayout671.xml"/><Relationship Id="rId170" Type="http://schemas.openxmlformats.org/officeDocument/2006/relationships/slideLayout" Target="../slideLayouts/slideLayout682.xml"/><Relationship Id="rId191" Type="http://schemas.openxmlformats.org/officeDocument/2006/relationships/slideLayout" Target="../slideLayouts/slideLayout703.xml"/><Relationship Id="rId107" Type="http://schemas.openxmlformats.org/officeDocument/2006/relationships/slideLayout" Target="../slideLayouts/slideLayout619.xml"/><Relationship Id="rId11" Type="http://schemas.openxmlformats.org/officeDocument/2006/relationships/slideLayout" Target="../slideLayouts/slideLayout523.xml"/><Relationship Id="rId32" Type="http://schemas.openxmlformats.org/officeDocument/2006/relationships/slideLayout" Target="../slideLayouts/slideLayout544.xml"/><Relationship Id="rId53" Type="http://schemas.openxmlformats.org/officeDocument/2006/relationships/slideLayout" Target="../slideLayouts/slideLayout565.xml"/><Relationship Id="rId74" Type="http://schemas.openxmlformats.org/officeDocument/2006/relationships/slideLayout" Target="../slideLayouts/slideLayout586.xml"/><Relationship Id="rId128" Type="http://schemas.openxmlformats.org/officeDocument/2006/relationships/slideLayout" Target="../slideLayouts/slideLayout640.xml"/><Relationship Id="rId149" Type="http://schemas.openxmlformats.org/officeDocument/2006/relationships/slideLayout" Target="../slideLayouts/slideLayout661.xml"/><Relationship Id="rId5" Type="http://schemas.openxmlformats.org/officeDocument/2006/relationships/slideLayout" Target="../slideLayouts/slideLayout517.xml"/><Relationship Id="rId95" Type="http://schemas.openxmlformats.org/officeDocument/2006/relationships/slideLayout" Target="../slideLayouts/slideLayout607.xml"/><Relationship Id="rId160" Type="http://schemas.openxmlformats.org/officeDocument/2006/relationships/slideLayout" Target="../slideLayouts/slideLayout672.xml"/><Relationship Id="rId181" Type="http://schemas.openxmlformats.org/officeDocument/2006/relationships/slideLayout" Target="../slideLayouts/slideLayout693.xml"/><Relationship Id="rId22" Type="http://schemas.openxmlformats.org/officeDocument/2006/relationships/slideLayout" Target="../slideLayouts/slideLayout534.xml"/><Relationship Id="rId43" Type="http://schemas.openxmlformats.org/officeDocument/2006/relationships/slideLayout" Target="../slideLayouts/slideLayout555.xml"/><Relationship Id="rId64" Type="http://schemas.openxmlformats.org/officeDocument/2006/relationships/slideLayout" Target="../slideLayouts/slideLayout576.xml"/><Relationship Id="rId118" Type="http://schemas.openxmlformats.org/officeDocument/2006/relationships/slideLayout" Target="../slideLayouts/slideLayout630.xml"/><Relationship Id="rId139" Type="http://schemas.openxmlformats.org/officeDocument/2006/relationships/slideLayout" Target="../slideLayouts/slideLayout651.xml"/><Relationship Id="rId85" Type="http://schemas.openxmlformats.org/officeDocument/2006/relationships/slideLayout" Target="../slideLayouts/slideLayout597.xml"/><Relationship Id="rId150" Type="http://schemas.openxmlformats.org/officeDocument/2006/relationships/slideLayout" Target="../slideLayouts/slideLayout662.xml"/><Relationship Id="rId171" Type="http://schemas.openxmlformats.org/officeDocument/2006/relationships/slideLayout" Target="../slideLayouts/slideLayout683.xml"/><Relationship Id="rId192" Type="http://schemas.openxmlformats.org/officeDocument/2006/relationships/slideLayout" Target="../slideLayouts/slideLayout704.xml"/><Relationship Id="rId12" Type="http://schemas.openxmlformats.org/officeDocument/2006/relationships/slideLayout" Target="../slideLayouts/slideLayout524.xml"/><Relationship Id="rId33" Type="http://schemas.openxmlformats.org/officeDocument/2006/relationships/slideLayout" Target="../slideLayouts/slideLayout545.xml"/><Relationship Id="rId108" Type="http://schemas.openxmlformats.org/officeDocument/2006/relationships/slideLayout" Target="../slideLayouts/slideLayout620.xml"/><Relationship Id="rId129" Type="http://schemas.openxmlformats.org/officeDocument/2006/relationships/slideLayout" Target="../slideLayouts/slideLayout641.xml"/><Relationship Id="rId54" Type="http://schemas.openxmlformats.org/officeDocument/2006/relationships/slideLayout" Target="../slideLayouts/slideLayout566.xml"/><Relationship Id="rId75" Type="http://schemas.openxmlformats.org/officeDocument/2006/relationships/slideLayout" Target="../slideLayouts/slideLayout587.xml"/><Relationship Id="rId96" Type="http://schemas.openxmlformats.org/officeDocument/2006/relationships/slideLayout" Target="../slideLayouts/slideLayout608.xml"/><Relationship Id="rId140" Type="http://schemas.openxmlformats.org/officeDocument/2006/relationships/slideLayout" Target="../slideLayouts/slideLayout652.xml"/><Relationship Id="rId161" Type="http://schemas.openxmlformats.org/officeDocument/2006/relationships/slideLayout" Target="../slideLayouts/slideLayout673.xml"/><Relationship Id="rId182" Type="http://schemas.openxmlformats.org/officeDocument/2006/relationships/slideLayout" Target="../slideLayouts/slideLayout694.xml"/><Relationship Id="rId6" Type="http://schemas.openxmlformats.org/officeDocument/2006/relationships/slideLayout" Target="../slideLayouts/slideLayout518.xml"/><Relationship Id="rId23" Type="http://schemas.openxmlformats.org/officeDocument/2006/relationships/slideLayout" Target="../slideLayouts/slideLayout535.xml"/><Relationship Id="rId119" Type="http://schemas.openxmlformats.org/officeDocument/2006/relationships/slideLayout" Target="../slideLayouts/slideLayout631.xml"/><Relationship Id="rId44" Type="http://schemas.openxmlformats.org/officeDocument/2006/relationships/slideLayout" Target="../slideLayouts/slideLayout556.xml"/><Relationship Id="rId65" Type="http://schemas.openxmlformats.org/officeDocument/2006/relationships/slideLayout" Target="../slideLayouts/slideLayout577.xml"/><Relationship Id="rId86" Type="http://schemas.openxmlformats.org/officeDocument/2006/relationships/slideLayout" Target="../slideLayouts/slideLayout598.xml"/><Relationship Id="rId130" Type="http://schemas.openxmlformats.org/officeDocument/2006/relationships/slideLayout" Target="../slideLayouts/slideLayout642.xml"/><Relationship Id="rId151" Type="http://schemas.openxmlformats.org/officeDocument/2006/relationships/slideLayout" Target="../slideLayouts/slideLayout663.xml"/><Relationship Id="rId172" Type="http://schemas.openxmlformats.org/officeDocument/2006/relationships/slideLayout" Target="../slideLayouts/slideLayout684.xml"/><Relationship Id="rId193" Type="http://schemas.openxmlformats.org/officeDocument/2006/relationships/slideLayout" Target="../slideLayouts/slideLayout705.xml"/><Relationship Id="rId13" Type="http://schemas.openxmlformats.org/officeDocument/2006/relationships/slideLayout" Target="../slideLayouts/slideLayout525.xml"/><Relationship Id="rId109" Type="http://schemas.openxmlformats.org/officeDocument/2006/relationships/slideLayout" Target="../slideLayouts/slideLayout621.xml"/><Relationship Id="rId34" Type="http://schemas.openxmlformats.org/officeDocument/2006/relationships/slideLayout" Target="../slideLayouts/slideLayout546.xml"/><Relationship Id="rId55" Type="http://schemas.openxmlformats.org/officeDocument/2006/relationships/slideLayout" Target="../slideLayouts/slideLayout567.xml"/><Relationship Id="rId76" Type="http://schemas.openxmlformats.org/officeDocument/2006/relationships/slideLayout" Target="../slideLayouts/slideLayout588.xml"/><Relationship Id="rId97" Type="http://schemas.openxmlformats.org/officeDocument/2006/relationships/slideLayout" Target="../slideLayouts/slideLayout609.xml"/><Relationship Id="rId120" Type="http://schemas.openxmlformats.org/officeDocument/2006/relationships/slideLayout" Target="../slideLayouts/slideLayout632.xml"/><Relationship Id="rId141" Type="http://schemas.openxmlformats.org/officeDocument/2006/relationships/slideLayout" Target="../slideLayouts/slideLayout653.xml"/><Relationship Id="rId7" Type="http://schemas.openxmlformats.org/officeDocument/2006/relationships/slideLayout" Target="../slideLayouts/slideLayout519.xml"/><Relationship Id="rId162" Type="http://schemas.openxmlformats.org/officeDocument/2006/relationships/slideLayout" Target="../slideLayouts/slideLayout674.xml"/><Relationship Id="rId183" Type="http://schemas.openxmlformats.org/officeDocument/2006/relationships/slideLayout" Target="../slideLayouts/slideLayout695.xml"/><Relationship Id="rId2" Type="http://schemas.openxmlformats.org/officeDocument/2006/relationships/slideLayout" Target="../slideLayouts/slideLayout514.xml"/><Relationship Id="rId29" Type="http://schemas.openxmlformats.org/officeDocument/2006/relationships/slideLayout" Target="../slideLayouts/slideLayout541.xml"/><Relationship Id="rId24" Type="http://schemas.openxmlformats.org/officeDocument/2006/relationships/slideLayout" Target="../slideLayouts/slideLayout536.xml"/><Relationship Id="rId40" Type="http://schemas.openxmlformats.org/officeDocument/2006/relationships/slideLayout" Target="../slideLayouts/slideLayout552.xml"/><Relationship Id="rId45" Type="http://schemas.openxmlformats.org/officeDocument/2006/relationships/slideLayout" Target="../slideLayouts/slideLayout557.xml"/><Relationship Id="rId66" Type="http://schemas.openxmlformats.org/officeDocument/2006/relationships/slideLayout" Target="../slideLayouts/slideLayout578.xml"/><Relationship Id="rId87" Type="http://schemas.openxmlformats.org/officeDocument/2006/relationships/slideLayout" Target="../slideLayouts/slideLayout599.xml"/><Relationship Id="rId110" Type="http://schemas.openxmlformats.org/officeDocument/2006/relationships/slideLayout" Target="../slideLayouts/slideLayout622.xml"/><Relationship Id="rId115" Type="http://schemas.openxmlformats.org/officeDocument/2006/relationships/slideLayout" Target="../slideLayouts/slideLayout627.xml"/><Relationship Id="rId131" Type="http://schemas.openxmlformats.org/officeDocument/2006/relationships/slideLayout" Target="../slideLayouts/slideLayout643.xml"/><Relationship Id="rId136" Type="http://schemas.openxmlformats.org/officeDocument/2006/relationships/slideLayout" Target="../slideLayouts/slideLayout648.xml"/><Relationship Id="rId157" Type="http://schemas.openxmlformats.org/officeDocument/2006/relationships/slideLayout" Target="../slideLayouts/slideLayout669.xml"/><Relationship Id="rId178" Type="http://schemas.openxmlformats.org/officeDocument/2006/relationships/slideLayout" Target="../slideLayouts/slideLayout690.xml"/><Relationship Id="rId61" Type="http://schemas.openxmlformats.org/officeDocument/2006/relationships/slideLayout" Target="../slideLayouts/slideLayout573.xml"/><Relationship Id="rId82" Type="http://schemas.openxmlformats.org/officeDocument/2006/relationships/slideLayout" Target="../slideLayouts/slideLayout594.xml"/><Relationship Id="rId152" Type="http://schemas.openxmlformats.org/officeDocument/2006/relationships/slideLayout" Target="../slideLayouts/slideLayout664.xml"/><Relationship Id="rId173" Type="http://schemas.openxmlformats.org/officeDocument/2006/relationships/slideLayout" Target="../slideLayouts/slideLayout685.xml"/><Relationship Id="rId194" Type="http://schemas.openxmlformats.org/officeDocument/2006/relationships/slideLayout" Target="../slideLayouts/slideLayout706.xml"/><Relationship Id="rId199" Type="http://schemas.openxmlformats.org/officeDocument/2006/relationships/slideLayout" Target="../slideLayouts/slideLayout711.xml"/><Relationship Id="rId203" Type="http://schemas.openxmlformats.org/officeDocument/2006/relationships/theme" Target="../theme/theme3.xml"/><Relationship Id="rId19" Type="http://schemas.openxmlformats.org/officeDocument/2006/relationships/slideLayout" Target="../slideLayouts/slideLayout531.xml"/><Relationship Id="rId14" Type="http://schemas.openxmlformats.org/officeDocument/2006/relationships/slideLayout" Target="../slideLayouts/slideLayout526.xml"/><Relationship Id="rId30" Type="http://schemas.openxmlformats.org/officeDocument/2006/relationships/slideLayout" Target="../slideLayouts/slideLayout542.xml"/><Relationship Id="rId35" Type="http://schemas.openxmlformats.org/officeDocument/2006/relationships/slideLayout" Target="../slideLayouts/slideLayout547.xml"/><Relationship Id="rId56" Type="http://schemas.openxmlformats.org/officeDocument/2006/relationships/slideLayout" Target="../slideLayouts/slideLayout568.xml"/><Relationship Id="rId77" Type="http://schemas.openxmlformats.org/officeDocument/2006/relationships/slideLayout" Target="../slideLayouts/slideLayout589.xml"/><Relationship Id="rId100" Type="http://schemas.openxmlformats.org/officeDocument/2006/relationships/slideLayout" Target="../slideLayouts/slideLayout612.xml"/><Relationship Id="rId105" Type="http://schemas.openxmlformats.org/officeDocument/2006/relationships/slideLayout" Target="../slideLayouts/slideLayout617.xml"/><Relationship Id="rId126" Type="http://schemas.openxmlformats.org/officeDocument/2006/relationships/slideLayout" Target="../slideLayouts/slideLayout638.xml"/><Relationship Id="rId147" Type="http://schemas.openxmlformats.org/officeDocument/2006/relationships/slideLayout" Target="../slideLayouts/slideLayout659.xml"/><Relationship Id="rId168" Type="http://schemas.openxmlformats.org/officeDocument/2006/relationships/slideLayout" Target="../slideLayouts/slideLayout680.xml"/><Relationship Id="rId8" Type="http://schemas.openxmlformats.org/officeDocument/2006/relationships/slideLayout" Target="../slideLayouts/slideLayout520.xml"/><Relationship Id="rId51" Type="http://schemas.openxmlformats.org/officeDocument/2006/relationships/slideLayout" Target="../slideLayouts/slideLayout563.xml"/><Relationship Id="rId72" Type="http://schemas.openxmlformats.org/officeDocument/2006/relationships/slideLayout" Target="../slideLayouts/slideLayout584.xml"/><Relationship Id="rId93" Type="http://schemas.openxmlformats.org/officeDocument/2006/relationships/slideLayout" Target="../slideLayouts/slideLayout605.xml"/><Relationship Id="rId98" Type="http://schemas.openxmlformats.org/officeDocument/2006/relationships/slideLayout" Target="../slideLayouts/slideLayout610.xml"/><Relationship Id="rId121" Type="http://schemas.openxmlformats.org/officeDocument/2006/relationships/slideLayout" Target="../slideLayouts/slideLayout633.xml"/><Relationship Id="rId142" Type="http://schemas.openxmlformats.org/officeDocument/2006/relationships/slideLayout" Target="../slideLayouts/slideLayout654.xml"/><Relationship Id="rId163" Type="http://schemas.openxmlformats.org/officeDocument/2006/relationships/slideLayout" Target="../slideLayouts/slideLayout675.xml"/><Relationship Id="rId184" Type="http://schemas.openxmlformats.org/officeDocument/2006/relationships/slideLayout" Target="../slideLayouts/slideLayout696.xml"/><Relationship Id="rId189" Type="http://schemas.openxmlformats.org/officeDocument/2006/relationships/slideLayout" Target="../slideLayouts/slideLayout701.xml"/><Relationship Id="rId3" Type="http://schemas.openxmlformats.org/officeDocument/2006/relationships/slideLayout" Target="../slideLayouts/slideLayout515.xml"/><Relationship Id="rId25" Type="http://schemas.openxmlformats.org/officeDocument/2006/relationships/slideLayout" Target="../slideLayouts/slideLayout537.xml"/><Relationship Id="rId46" Type="http://schemas.openxmlformats.org/officeDocument/2006/relationships/slideLayout" Target="../slideLayouts/slideLayout558.xml"/><Relationship Id="rId67" Type="http://schemas.openxmlformats.org/officeDocument/2006/relationships/slideLayout" Target="../slideLayouts/slideLayout579.xml"/><Relationship Id="rId116" Type="http://schemas.openxmlformats.org/officeDocument/2006/relationships/slideLayout" Target="../slideLayouts/slideLayout628.xml"/><Relationship Id="rId137" Type="http://schemas.openxmlformats.org/officeDocument/2006/relationships/slideLayout" Target="../slideLayouts/slideLayout649.xml"/><Relationship Id="rId158" Type="http://schemas.openxmlformats.org/officeDocument/2006/relationships/slideLayout" Target="../slideLayouts/slideLayout670.xml"/><Relationship Id="rId20" Type="http://schemas.openxmlformats.org/officeDocument/2006/relationships/slideLayout" Target="../slideLayouts/slideLayout532.xml"/><Relationship Id="rId41" Type="http://schemas.openxmlformats.org/officeDocument/2006/relationships/slideLayout" Target="../slideLayouts/slideLayout553.xml"/><Relationship Id="rId62" Type="http://schemas.openxmlformats.org/officeDocument/2006/relationships/slideLayout" Target="../slideLayouts/slideLayout574.xml"/><Relationship Id="rId83" Type="http://schemas.openxmlformats.org/officeDocument/2006/relationships/slideLayout" Target="../slideLayouts/slideLayout595.xml"/><Relationship Id="rId88" Type="http://schemas.openxmlformats.org/officeDocument/2006/relationships/slideLayout" Target="../slideLayouts/slideLayout600.xml"/><Relationship Id="rId111" Type="http://schemas.openxmlformats.org/officeDocument/2006/relationships/slideLayout" Target="../slideLayouts/slideLayout623.xml"/><Relationship Id="rId132" Type="http://schemas.openxmlformats.org/officeDocument/2006/relationships/slideLayout" Target="../slideLayouts/slideLayout644.xml"/><Relationship Id="rId153" Type="http://schemas.openxmlformats.org/officeDocument/2006/relationships/slideLayout" Target="../slideLayouts/slideLayout665.xml"/><Relationship Id="rId174" Type="http://schemas.openxmlformats.org/officeDocument/2006/relationships/slideLayout" Target="../slideLayouts/slideLayout686.xml"/><Relationship Id="rId179" Type="http://schemas.openxmlformats.org/officeDocument/2006/relationships/slideLayout" Target="../slideLayouts/slideLayout691.xml"/><Relationship Id="rId195" Type="http://schemas.openxmlformats.org/officeDocument/2006/relationships/slideLayout" Target="../slideLayouts/slideLayout707.xml"/><Relationship Id="rId190" Type="http://schemas.openxmlformats.org/officeDocument/2006/relationships/slideLayout" Target="../slideLayouts/slideLayout702.xml"/><Relationship Id="rId15" Type="http://schemas.openxmlformats.org/officeDocument/2006/relationships/slideLayout" Target="../slideLayouts/slideLayout527.xml"/><Relationship Id="rId36" Type="http://schemas.openxmlformats.org/officeDocument/2006/relationships/slideLayout" Target="../slideLayouts/slideLayout548.xml"/><Relationship Id="rId57" Type="http://schemas.openxmlformats.org/officeDocument/2006/relationships/slideLayout" Target="../slideLayouts/slideLayout569.xml"/><Relationship Id="rId106" Type="http://schemas.openxmlformats.org/officeDocument/2006/relationships/slideLayout" Target="../slideLayouts/slideLayout618.xml"/><Relationship Id="rId127" Type="http://schemas.openxmlformats.org/officeDocument/2006/relationships/slideLayout" Target="../slideLayouts/slideLayout639.xml"/><Relationship Id="rId10" Type="http://schemas.openxmlformats.org/officeDocument/2006/relationships/slideLayout" Target="../slideLayouts/slideLayout522.xml"/><Relationship Id="rId31" Type="http://schemas.openxmlformats.org/officeDocument/2006/relationships/slideLayout" Target="../slideLayouts/slideLayout543.xml"/><Relationship Id="rId52" Type="http://schemas.openxmlformats.org/officeDocument/2006/relationships/slideLayout" Target="../slideLayouts/slideLayout564.xml"/><Relationship Id="rId73" Type="http://schemas.openxmlformats.org/officeDocument/2006/relationships/slideLayout" Target="../slideLayouts/slideLayout585.xml"/><Relationship Id="rId78" Type="http://schemas.openxmlformats.org/officeDocument/2006/relationships/slideLayout" Target="../slideLayouts/slideLayout590.xml"/><Relationship Id="rId94" Type="http://schemas.openxmlformats.org/officeDocument/2006/relationships/slideLayout" Target="../slideLayouts/slideLayout606.xml"/><Relationship Id="rId99" Type="http://schemas.openxmlformats.org/officeDocument/2006/relationships/slideLayout" Target="../slideLayouts/slideLayout611.xml"/><Relationship Id="rId101" Type="http://schemas.openxmlformats.org/officeDocument/2006/relationships/slideLayout" Target="../slideLayouts/slideLayout613.xml"/><Relationship Id="rId122" Type="http://schemas.openxmlformats.org/officeDocument/2006/relationships/slideLayout" Target="../slideLayouts/slideLayout634.xml"/><Relationship Id="rId143" Type="http://schemas.openxmlformats.org/officeDocument/2006/relationships/slideLayout" Target="../slideLayouts/slideLayout655.xml"/><Relationship Id="rId148" Type="http://schemas.openxmlformats.org/officeDocument/2006/relationships/slideLayout" Target="../slideLayouts/slideLayout660.xml"/><Relationship Id="rId164" Type="http://schemas.openxmlformats.org/officeDocument/2006/relationships/slideLayout" Target="../slideLayouts/slideLayout676.xml"/><Relationship Id="rId169" Type="http://schemas.openxmlformats.org/officeDocument/2006/relationships/slideLayout" Target="../slideLayouts/slideLayout681.xml"/><Relationship Id="rId185" Type="http://schemas.openxmlformats.org/officeDocument/2006/relationships/slideLayout" Target="../slideLayouts/slideLayout697.xml"/><Relationship Id="rId4" Type="http://schemas.openxmlformats.org/officeDocument/2006/relationships/slideLayout" Target="../slideLayouts/slideLayout516.xml"/><Relationship Id="rId9" Type="http://schemas.openxmlformats.org/officeDocument/2006/relationships/slideLayout" Target="../slideLayouts/slideLayout521.xml"/><Relationship Id="rId180" Type="http://schemas.openxmlformats.org/officeDocument/2006/relationships/slideLayout" Target="../slideLayouts/slideLayout692.xml"/><Relationship Id="rId26" Type="http://schemas.openxmlformats.org/officeDocument/2006/relationships/slideLayout" Target="../slideLayouts/slideLayout538.xml"/><Relationship Id="rId47" Type="http://schemas.openxmlformats.org/officeDocument/2006/relationships/slideLayout" Target="../slideLayouts/slideLayout559.xml"/><Relationship Id="rId68" Type="http://schemas.openxmlformats.org/officeDocument/2006/relationships/slideLayout" Target="../slideLayouts/slideLayout580.xml"/><Relationship Id="rId89" Type="http://schemas.openxmlformats.org/officeDocument/2006/relationships/slideLayout" Target="../slideLayouts/slideLayout601.xml"/><Relationship Id="rId112" Type="http://schemas.openxmlformats.org/officeDocument/2006/relationships/slideLayout" Target="../slideLayouts/slideLayout624.xml"/><Relationship Id="rId133" Type="http://schemas.openxmlformats.org/officeDocument/2006/relationships/slideLayout" Target="../slideLayouts/slideLayout645.xml"/><Relationship Id="rId154" Type="http://schemas.openxmlformats.org/officeDocument/2006/relationships/slideLayout" Target="../slideLayouts/slideLayout666.xml"/><Relationship Id="rId175" Type="http://schemas.openxmlformats.org/officeDocument/2006/relationships/slideLayout" Target="../slideLayouts/slideLayout687.xml"/><Relationship Id="rId196" Type="http://schemas.openxmlformats.org/officeDocument/2006/relationships/slideLayout" Target="../slideLayouts/slideLayout708.xml"/><Relationship Id="rId200" Type="http://schemas.openxmlformats.org/officeDocument/2006/relationships/slideLayout" Target="../slideLayouts/slideLayout712.xml"/><Relationship Id="rId16" Type="http://schemas.openxmlformats.org/officeDocument/2006/relationships/slideLayout" Target="../slideLayouts/slideLayout528.xml"/><Relationship Id="rId37" Type="http://schemas.openxmlformats.org/officeDocument/2006/relationships/slideLayout" Target="../slideLayouts/slideLayout549.xml"/><Relationship Id="rId58" Type="http://schemas.openxmlformats.org/officeDocument/2006/relationships/slideLayout" Target="../slideLayouts/slideLayout570.xml"/><Relationship Id="rId79" Type="http://schemas.openxmlformats.org/officeDocument/2006/relationships/slideLayout" Target="../slideLayouts/slideLayout591.xml"/><Relationship Id="rId102" Type="http://schemas.openxmlformats.org/officeDocument/2006/relationships/slideLayout" Target="../slideLayouts/slideLayout614.xml"/><Relationship Id="rId123" Type="http://schemas.openxmlformats.org/officeDocument/2006/relationships/slideLayout" Target="../slideLayouts/slideLayout635.xml"/><Relationship Id="rId144" Type="http://schemas.openxmlformats.org/officeDocument/2006/relationships/slideLayout" Target="../slideLayouts/slideLayout656.xml"/><Relationship Id="rId90" Type="http://schemas.openxmlformats.org/officeDocument/2006/relationships/slideLayout" Target="../slideLayouts/slideLayout602.xml"/><Relationship Id="rId165" Type="http://schemas.openxmlformats.org/officeDocument/2006/relationships/slideLayout" Target="../slideLayouts/slideLayout677.xml"/><Relationship Id="rId186" Type="http://schemas.openxmlformats.org/officeDocument/2006/relationships/slideLayout" Target="../slideLayouts/slideLayout698.xml"/><Relationship Id="rId27" Type="http://schemas.openxmlformats.org/officeDocument/2006/relationships/slideLayout" Target="../slideLayouts/slideLayout539.xml"/><Relationship Id="rId48" Type="http://schemas.openxmlformats.org/officeDocument/2006/relationships/slideLayout" Target="../slideLayouts/slideLayout560.xml"/><Relationship Id="rId69" Type="http://schemas.openxmlformats.org/officeDocument/2006/relationships/slideLayout" Target="../slideLayouts/slideLayout581.xml"/><Relationship Id="rId113" Type="http://schemas.openxmlformats.org/officeDocument/2006/relationships/slideLayout" Target="../slideLayouts/slideLayout625.xml"/><Relationship Id="rId134" Type="http://schemas.openxmlformats.org/officeDocument/2006/relationships/slideLayout" Target="../slideLayouts/slideLayout646.xml"/><Relationship Id="rId80" Type="http://schemas.openxmlformats.org/officeDocument/2006/relationships/slideLayout" Target="../slideLayouts/slideLayout592.xml"/><Relationship Id="rId155" Type="http://schemas.openxmlformats.org/officeDocument/2006/relationships/slideLayout" Target="../slideLayouts/slideLayout667.xml"/><Relationship Id="rId176" Type="http://schemas.openxmlformats.org/officeDocument/2006/relationships/slideLayout" Target="../slideLayouts/slideLayout688.xml"/><Relationship Id="rId197" Type="http://schemas.openxmlformats.org/officeDocument/2006/relationships/slideLayout" Target="../slideLayouts/slideLayout709.xml"/><Relationship Id="rId201" Type="http://schemas.openxmlformats.org/officeDocument/2006/relationships/slideLayout" Target="../slideLayouts/slideLayout713.xml"/><Relationship Id="rId17" Type="http://schemas.openxmlformats.org/officeDocument/2006/relationships/slideLayout" Target="../slideLayouts/slideLayout529.xml"/><Relationship Id="rId38" Type="http://schemas.openxmlformats.org/officeDocument/2006/relationships/slideLayout" Target="../slideLayouts/slideLayout550.xml"/><Relationship Id="rId59" Type="http://schemas.openxmlformats.org/officeDocument/2006/relationships/slideLayout" Target="../slideLayouts/slideLayout571.xml"/><Relationship Id="rId103" Type="http://schemas.openxmlformats.org/officeDocument/2006/relationships/slideLayout" Target="../slideLayouts/slideLayout615.xml"/><Relationship Id="rId124" Type="http://schemas.openxmlformats.org/officeDocument/2006/relationships/slideLayout" Target="../slideLayouts/slideLayout636.xml"/><Relationship Id="rId70" Type="http://schemas.openxmlformats.org/officeDocument/2006/relationships/slideLayout" Target="../slideLayouts/slideLayout582.xml"/><Relationship Id="rId91" Type="http://schemas.openxmlformats.org/officeDocument/2006/relationships/slideLayout" Target="../slideLayouts/slideLayout603.xml"/><Relationship Id="rId145" Type="http://schemas.openxmlformats.org/officeDocument/2006/relationships/slideLayout" Target="../slideLayouts/slideLayout657.xml"/><Relationship Id="rId166" Type="http://schemas.openxmlformats.org/officeDocument/2006/relationships/slideLayout" Target="../slideLayouts/slideLayout678.xml"/><Relationship Id="rId187" Type="http://schemas.openxmlformats.org/officeDocument/2006/relationships/slideLayout" Target="../slideLayouts/slideLayout699.xml"/><Relationship Id="rId1" Type="http://schemas.openxmlformats.org/officeDocument/2006/relationships/slideLayout" Target="../slideLayouts/slideLayout513.xml"/><Relationship Id="rId28" Type="http://schemas.openxmlformats.org/officeDocument/2006/relationships/slideLayout" Target="../slideLayouts/slideLayout540.xml"/><Relationship Id="rId49" Type="http://schemas.openxmlformats.org/officeDocument/2006/relationships/slideLayout" Target="../slideLayouts/slideLayout561.xml"/><Relationship Id="rId114" Type="http://schemas.openxmlformats.org/officeDocument/2006/relationships/slideLayout" Target="../slideLayouts/slideLayout626.xml"/><Relationship Id="rId60" Type="http://schemas.openxmlformats.org/officeDocument/2006/relationships/slideLayout" Target="../slideLayouts/slideLayout572.xml"/><Relationship Id="rId81" Type="http://schemas.openxmlformats.org/officeDocument/2006/relationships/slideLayout" Target="../slideLayouts/slideLayout593.xml"/><Relationship Id="rId135" Type="http://schemas.openxmlformats.org/officeDocument/2006/relationships/slideLayout" Target="../slideLayouts/slideLayout647.xml"/><Relationship Id="rId156" Type="http://schemas.openxmlformats.org/officeDocument/2006/relationships/slideLayout" Target="../slideLayouts/slideLayout668.xml"/><Relationship Id="rId177" Type="http://schemas.openxmlformats.org/officeDocument/2006/relationships/slideLayout" Target="../slideLayouts/slideLayout689.xml"/><Relationship Id="rId198" Type="http://schemas.openxmlformats.org/officeDocument/2006/relationships/slideLayout" Target="../slideLayouts/slideLayout710.xml"/><Relationship Id="rId202" Type="http://schemas.openxmlformats.org/officeDocument/2006/relationships/slideLayout" Target="../slideLayouts/slideLayout714.xml"/><Relationship Id="rId18" Type="http://schemas.openxmlformats.org/officeDocument/2006/relationships/slideLayout" Target="../slideLayouts/slideLayout530.xml"/><Relationship Id="rId39" Type="http://schemas.openxmlformats.org/officeDocument/2006/relationships/slideLayout" Target="../slideLayouts/slideLayout551.xml"/><Relationship Id="rId50" Type="http://schemas.openxmlformats.org/officeDocument/2006/relationships/slideLayout" Target="../slideLayouts/slideLayout562.xml"/><Relationship Id="rId104" Type="http://schemas.openxmlformats.org/officeDocument/2006/relationships/slideLayout" Target="../slideLayouts/slideLayout616.xml"/><Relationship Id="rId125" Type="http://schemas.openxmlformats.org/officeDocument/2006/relationships/slideLayout" Target="../slideLayouts/slideLayout637.xml"/><Relationship Id="rId146" Type="http://schemas.openxmlformats.org/officeDocument/2006/relationships/slideLayout" Target="../slideLayouts/slideLayout658.xml"/><Relationship Id="rId167" Type="http://schemas.openxmlformats.org/officeDocument/2006/relationships/slideLayout" Target="../slideLayouts/slideLayout679.xml"/><Relationship Id="rId188" Type="http://schemas.openxmlformats.org/officeDocument/2006/relationships/slideLayout" Target="../slideLayouts/slideLayout700.xml"/><Relationship Id="rId71" Type="http://schemas.openxmlformats.org/officeDocument/2006/relationships/slideLayout" Target="../slideLayouts/slideLayout583.xml"/><Relationship Id="rId92" Type="http://schemas.openxmlformats.org/officeDocument/2006/relationships/slideLayout" Target="../slideLayouts/slideLayout60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2.xml"/><Relationship Id="rId13" Type="http://schemas.openxmlformats.org/officeDocument/2006/relationships/slideLayout" Target="../slideLayouts/slideLayout727.xml"/><Relationship Id="rId18" Type="http://schemas.openxmlformats.org/officeDocument/2006/relationships/slideLayout" Target="../slideLayouts/slideLayout732.xml"/><Relationship Id="rId3" Type="http://schemas.openxmlformats.org/officeDocument/2006/relationships/slideLayout" Target="../slideLayouts/slideLayout717.xml"/><Relationship Id="rId21" Type="http://schemas.openxmlformats.org/officeDocument/2006/relationships/slideLayout" Target="../slideLayouts/slideLayout735.xml"/><Relationship Id="rId7" Type="http://schemas.openxmlformats.org/officeDocument/2006/relationships/slideLayout" Target="../slideLayouts/slideLayout721.xml"/><Relationship Id="rId12" Type="http://schemas.openxmlformats.org/officeDocument/2006/relationships/slideLayout" Target="../slideLayouts/slideLayout726.xml"/><Relationship Id="rId17" Type="http://schemas.openxmlformats.org/officeDocument/2006/relationships/slideLayout" Target="../slideLayouts/slideLayout731.xml"/><Relationship Id="rId2" Type="http://schemas.openxmlformats.org/officeDocument/2006/relationships/slideLayout" Target="../slideLayouts/slideLayout716.xml"/><Relationship Id="rId16" Type="http://schemas.openxmlformats.org/officeDocument/2006/relationships/slideLayout" Target="../slideLayouts/slideLayout730.xml"/><Relationship Id="rId20" Type="http://schemas.openxmlformats.org/officeDocument/2006/relationships/slideLayout" Target="../slideLayouts/slideLayout734.xml"/><Relationship Id="rId1" Type="http://schemas.openxmlformats.org/officeDocument/2006/relationships/slideLayout" Target="../slideLayouts/slideLayout715.xml"/><Relationship Id="rId6" Type="http://schemas.openxmlformats.org/officeDocument/2006/relationships/slideLayout" Target="../slideLayouts/slideLayout720.xml"/><Relationship Id="rId11" Type="http://schemas.openxmlformats.org/officeDocument/2006/relationships/slideLayout" Target="../slideLayouts/slideLayout725.xml"/><Relationship Id="rId5" Type="http://schemas.openxmlformats.org/officeDocument/2006/relationships/slideLayout" Target="../slideLayouts/slideLayout719.xml"/><Relationship Id="rId15" Type="http://schemas.openxmlformats.org/officeDocument/2006/relationships/slideLayout" Target="../slideLayouts/slideLayout729.xml"/><Relationship Id="rId10" Type="http://schemas.openxmlformats.org/officeDocument/2006/relationships/slideLayout" Target="../slideLayouts/slideLayout724.xml"/><Relationship Id="rId19" Type="http://schemas.openxmlformats.org/officeDocument/2006/relationships/slideLayout" Target="../slideLayouts/slideLayout733.xml"/><Relationship Id="rId4" Type="http://schemas.openxmlformats.org/officeDocument/2006/relationships/slideLayout" Target="../slideLayouts/slideLayout718.xml"/><Relationship Id="rId9" Type="http://schemas.openxmlformats.org/officeDocument/2006/relationships/slideLayout" Target="../slideLayouts/slideLayout723.xml"/><Relationship Id="rId14" Type="http://schemas.openxmlformats.org/officeDocument/2006/relationships/slideLayout" Target="../slideLayouts/slideLayout728.xml"/><Relationship Id="rId2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7/15/24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8621" r:id="rId1"/>
    <p:sldLayoutId id="2147488622" r:id="rId2"/>
    <p:sldLayoutId id="2147488623" r:id="rId3"/>
    <p:sldLayoutId id="2147488624" r:id="rId4"/>
    <p:sldLayoutId id="2147488625" r:id="rId5"/>
    <p:sldLayoutId id="2147488626" r:id="rId6"/>
    <p:sldLayoutId id="2147488627" r:id="rId7"/>
    <p:sldLayoutId id="2147488628" r:id="rId8"/>
    <p:sldLayoutId id="2147483669" r:id="rId9"/>
    <p:sldLayoutId id="2147483670" r:id="rId10"/>
    <p:sldLayoutId id="2147483671" r:id="rId11"/>
    <p:sldLayoutId id="2147488242" r:id="rId12"/>
    <p:sldLayoutId id="2147488326" r:id="rId13"/>
    <p:sldLayoutId id="2147488244" r:id="rId14"/>
    <p:sldLayoutId id="2147488245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F3C8E6B-4EF4-AB45-BB5A-B61F60A678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233A315-3653-1248-BF74-8D225E1A01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9277CC0-3406-FE41-A537-FC7F5005FE7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9264081-CCE9-434F-BC99-2EAB68E1AC8B}" type="slidenum">
              <a:rPr lang="en-US" smtClean="0"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F6F45CB4-03EB-854B-871B-8D89D60BBF0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l"/>
            <a:r>
              <a:rPr lang="en-US"/>
              <a:t>Illinois Perinatal Quality Collaborative</a:t>
            </a:r>
          </a:p>
        </p:txBody>
      </p:sp>
    </p:spTree>
    <p:extLst>
      <p:ext uri="{BB962C8B-B14F-4D97-AF65-F5344CB8AC3E}">
        <p14:creationId xmlns:p14="http://schemas.microsoft.com/office/powerpoint/2010/main" val="33780732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558" r:id="rId1"/>
    <p:sldLayoutId id="2147485559" r:id="rId2"/>
    <p:sldLayoutId id="2147485560" r:id="rId3"/>
    <p:sldLayoutId id="2147485561" r:id="rId4"/>
    <p:sldLayoutId id="2147485562" r:id="rId5"/>
    <p:sldLayoutId id="2147485563" r:id="rId6"/>
    <p:sldLayoutId id="2147485564" r:id="rId7"/>
    <p:sldLayoutId id="2147485565" r:id="rId8"/>
    <p:sldLayoutId id="2147485566" r:id="rId9"/>
    <p:sldLayoutId id="2147485567" r:id="rId10"/>
    <p:sldLayoutId id="2147485568" r:id="rId11"/>
    <p:sldLayoutId id="2147488243" r:id="rId12"/>
    <p:sldLayoutId id="2147484557" r:id="rId13"/>
    <p:sldLayoutId id="2147484696" r:id="rId14"/>
    <p:sldLayoutId id="2147484656" r:id="rId15"/>
    <p:sldLayoutId id="2147488246" r:id="rId16"/>
    <p:sldLayoutId id="2147488247" r:id="rId17"/>
    <p:sldLayoutId id="2147488248" r:id="rId18"/>
    <p:sldLayoutId id="2147488249" r:id="rId19"/>
    <p:sldLayoutId id="2147488250" r:id="rId20"/>
    <p:sldLayoutId id="2147488251" r:id="rId21"/>
    <p:sldLayoutId id="2147488252" r:id="rId22"/>
    <p:sldLayoutId id="2147487028" r:id="rId23"/>
    <p:sldLayoutId id="2147487029" r:id="rId24"/>
    <p:sldLayoutId id="2147487030" r:id="rId25"/>
    <p:sldLayoutId id="2147487031" r:id="rId26"/>
    <p:sldLayoutId id="2147487032" r:id="rId27"/>
    <p:sldLayoutId id="2147487033" r:id="rId28"/>
    <p:sldLayoutId id="2147487034" r:id="rId29"/>
    <p:sldLayoutId id="2147487035" r:id="rId30"/>
    <p:sldLayoutId id="2147487036" r:id="rId31"/>
    <p:sldLayoutId id="2147487037" r:id="rId32"/>
    <p:sldLayoutId id="2147487038" r:id="rId33"/>
    <p:sldLayoutId id="2147487178" r:id="rId34"/>
    <p:sldLayoutId id="2147487179" r:id="rId35"/>
    <p:sldLayoutId id="2147487180" r:id="rId36"/>
    <p:sldLayoutId id="2147487039" r:id="rId37"/>
    <p:sldLayoutId id="2147487182" r:id="rId38"/>
    <p:sldLayoutId id="2147487183" r:id="rId39"/>
    <p:sldLayoutId id="2147487184" r:id="rId40"/>
    <p:sldLayoutId id="2147487185" r:id="rId41"/>
    <p:sldLayoutId id="2147487040" r:id="rId42"/>
    <p:sldLayoutId id="2147487041" r:id="rId43"/>
    <p:sldLayoutId id="2147487188" r:id="rId44"/>
    <p:sldLayoutId id="2147487189" r:id="rId45"/>
    <p:sldLayoutId id="2147487190" r:id="rId46"/>
    <p:sldLayoutId id="2147487042" r:id="rId47"/>
    <p:sldLayoutId id="2147487192" r:id="rId48"/>
    <p:sldLayoutId id="2147487193" r:id="rId49"/>
    <p:sldLayoutId id="2147487043" r:id="rId50"/>
    <p:sldLayoutId id="2147487044" r:id="rId51"/>
    <p:sldLayoutId id="2147487045" r:id="rId52"/>
    <p:sldLayoutId id="2147487046" r:id="rId53"/>
    <p:sldLayoutId id="2147487047" r:id="rId54"/>
    <p:sldLayoutId id="2147487048" r:id="rId55"/>
    <p:sldLayoutId id="2147487049" r:id="rId56"/>
    <p:sldLayoutId id="2147487050" r:id="rId57"/>
    <p:sldLayoutId id="2147487051" r:id="rId58"/>
    <p:sldLayoutId id="2147487052" r:id="rId59"/>
    <p:sldLayoutId id="2147487053" r:id="rId60"/>
    <p:sldLayoutId id="2147487205" r:id="rId61"/>
    <p:sldLayoutId id="2147487207" r:id="rId62"/>
    <p:sldLayoutId id="2147487208" r:id="rId63"/>
    <p:sldLayoutId id="2147487209" r:id="rId64"/>
    <p:sldLayoutId id="2147487210" r:id="rId65"/>
    <p:sldLayoutId id="2147487211" r:id="rId66"/>
    <p:sldLayoutId id="2147487212" r:id="rId67"/>
    <p:sldLayoutId id="2147487213" r:id="rId68"/>
    <p:sldLayoutId id="2147487214" r:id="rId69"/>
    <p:sldLayoutId id="2147487215" r:id="rId70"/>
    <p:sldLayoutId id="2147487225" r:id="rId71"/>
    <p:sldLayoutId id="2147487226" r:id="rId72"/>
    <p:sldLayoutId id="2147487227" r:id="rId73"/>
    <p:sldLayoutId id="2147487228" r:id="rId74"/>
    <p:sldLayoutId id="2147487229" r:id="rId75"/>
    <p:sldLayoutId id="2147487058" r:id="rId76"/>
    <p:sldLayoutId id="2147487231" r:id="rId77"/>
    <p:sldLayoutId id="2147487232" r:id="rId78"/>
    <p:sldLayoutId id="2147487233" r:id="rId79"/>
    <p:sldLayoutId id="2147487234" r:id="rId80"/>
    <p:sldLayoutId id="2147487235" r:id="rId81"/>
    <p:sldLayoutId id="2147487236" r:id="rId82"/>
    <p:sldLayoutId id="2147487237" r:id="rId83"/>
    <p:sldLayoutId id="2147487059" r:id="rId84"/>
    <p:sldLayoutId id="2147487060" r:id="rId85"/>
    <p:sldLayoutId id="2147487061" r:id="rId86"/>
    <p:sldLayoutId id="2147487062" r:id="rId87"/>
    <p:sldLayoutId id="2147487242" r:id="rId88"/>
    <p:sldLayoutId id="2147487063" r:id="rId89"/>
    <p:sldLayoutId id="2147487244" r:id="rId90"/>
    <p:sldLayoutId id="2147487245" r:id="rId91"/>
    <p:sldLayoutId id="2147487246" r:id="rId92"/>
    <p:sldLayoutId id="2147487064" r:id="rId93"/>
    <p:sldLayoutId id="2147487248" r:id="rId94"/>
    <p:sldLayoutId id="2147487249" r:id="rId95"/>
    <p:sldLayoutId id="2147487250" r:id="rId96"/>
    <p:sldLayoutId id="2147487251" r:id="rId97"/>
    <p:sldLayoutId id="2147487252" r:id="rId98"/>
    <p:sldLayoutId id="2147487253" r:id="rId99"/>
    <p:sldLayoutId id="2147487065" r:id="rId100"/>
    <p:sldLayoutId id="2147487066" r:id="rId101"/>
    <p:sldLayoutId id="2147487067" r:id="rId102"/>
    <p:sldLayoutId id="2147487068" r:id="rId103"/>
    <p:sldLayoutId id="2147487069" r:id="rId104"/>
    <p:sldLayoutId id="2147487070" r:id="rId105"/>
    <p:sldLayoutId id="2147487071" r:id="rId106"/>
    <p:sldLayoutId id="2147487072" r:id="rId107"/>
    <p:sldLayoutId id="2147487073" r:id="rId108"/>
    <p:sldLayoutId id="2147487074" r:id="rId109"/>
    <p:sldLayoutId id="2147487075" r:id="rId110"/>
    <p:sldLayoutId id="2147487155" r:id="rId111"/>
    <p:sldLayoutId id="2147487265" r:id="rId112"/>
    <p:sldLayoutId id="2147487266" r:id="rId113"/>
    <p:sldLayoutId id="2147487076" r:id="rId114"/>
    <p:sldLayoutId id="2147487078" r:id="rId115"/>
    <p:sldLayoutId id="2147487270" r:id="rId116"/>
    <p:sldLayoutId id="2147487271" r:id="rId117"/>
    <p:sldLayoutId id="2147487272" r:id="rId118"/>
    <p:sldLayoutId id="2147487273" r:id="rId119"/>
    <p:sldLayoutId id="2147487274" r:id="rId120"/>
    <p:sldLayoutId id="2147487275" r:id="rId121"/>
    <p:sldLayoutId id="2147487276" r:id="rId122"/>
    <p:sldLayoutId id="2147487277" r:id="rId123"/>
    <p:sldLayoutId id="2147487079" r:id="rId124"/>
    <p:sldLayoutId id="2147487080" r:id="rId125"/>
    <p:sldLayoutId id="2147487081" r:id="rId126"/>
    <p:sldLayoutId id="2147487082" r:id="rId127"/>
    <p:sldLayoutId id="2147487083" r:id="rId128"/>
    <p:sldLayoutId id="2147487084" r:id="rId129"/>
    <p:sldLayoutId id="2147487085" r:id="rId130"/>
    <p:sldLayoutId id="2147487086" r:id="rId131"/>
    <p:sldLayoutId id="2147487311" r:id="rId132"/>
    <p:sldLayoutId id="2147487096" r:id="rId133"/>
    <p:sldLayoutId id="2147487098" r:id="rId134"/>
    <p:sldLayoutId id="2147487099" r:id="rId135"/>
    <p:sldLayoutId id="2147487104" r:id="rId136"/>
    <p:sldLayoutId id="2147487326" r:id="rId137"/>
    <p:sldLayoutId id="2147487105" r:id="rId138"/>
    <p:sldLayoutId id="2147487106" r:id="rId139"/>
    <p:sldLayoutId id="2147487107" r:id="rId140"/>
    <p:sldLayoutId id="2147487108" r:id="rId141"/>
    <p:sldLayoutId id="2147487109" r:id="rId142"/>
    <p:sldLayoutId id="2147487110" r:id="rId143"/>
    <p:sldLayoutId id="2147487111" r:id="rId144"/>
    <p:sldLayoutId id="2147487112" r:id="rId145"/>
    <p:sldLayoutId id="2147487113" r:id="rId146"/>
    <p:sldLayoutId id="2147487118" r:id="rId147"/>
    <p:sldLayoutId id="2147487119" r:id="rId148"/>
    <p:sldLayoutId id="2147487120" r:id="rId149"/>
    <p:sldLayoutId id="2147487121" r:id="rId150"/>
    <p:sldLayoutId id="2147487122" r:id="rId151"/>
    <p:sldLayoutId id="2147487123" r:id="rId152"/>
    <p:sldLayoutId id="2147487346" r:id="rId153"/>
    <p:sldLayoutId id="2147487124" r:id="rId154"/>
    <p:sldLayoutId id="2147487348" r:id="rId155"/>
    <p:sldLayoutId id="2147487349" r:id="rId156"/>
    <p:sldLayoutId id="2147488352" r:id="rId157"/>
    <p:sldLayoutId id="2147488353" r:id="rId158"/>
    <p:sldLayoutId id="2147483849" r:id="rId159"/>
    <p:sldLayoutId id="2147483850" r:id="rId160"/>
    <p:sldLayoutId id="2147483862" r:id="rId161"/>
    <p:sldLayoutId id="2147483863" r:id="rId162"/>
    <p:sldLayoutId id="2147483864" r:id="rId163"/>
    <p:sldLayoutId id="2147483865" r:id="rId164"/>
    <p:sldLayoutId id="2147483866" r:id="rId165"/>
    <p:sldLayoutId id="2147483867" r:id="rId166"/>
    <p:sldLayoutId id="2147483868" r:id="rId167"/>
    <p:sldLayoutId id="2147483869" r:id="rId168"/>
    <p:sldLayoutId id="2147483870" r:id="rId169"/>
    <p:sldLayoutId id="2147483871" r:id="rId170"/>
    <p:sldLayoutId id="2147483872" r:id="rId171"/>
    <p:sldLayoutId id="2147483875" r:id="rId172"/>
    <p:sldLayoutId id="2147483876" r:id="rId173"/>
    <p:sldLayoutId id="2147488384" r:id="rId174"/>
    <p:sldLayoutId id="2147488385" r:id="rId175"/>
    <p:sldLayoutId id="2147483879" r:id="rId176"/>
    <p:sldLayoutId id="2147483880" r:id="rId177"/>
    <p:sldLayoutId id="2147483881" r:id="rId178"/>
    <p:sldLayoutId id="2147483882" r:id="rId179"/>
    <p:sldLayoutId id="2147483883" r:id="rId180"/>
    <p:sldLayoutId id="2147483884" r:id="rId181"/>
    <p:sldLayoutId id="2147483885" r:id="rId182"/>
    <p:sldLayoutId id="2147483886" r:id="rId183"/>
    <p:sldLayoutId id="2147483887" r:id="rId184"/>
    <p:sldLayoutId id="2147483888" r:id="rId185"/>
    <p:sldLayoutId id="2147483889" r:id="rId186"/>
    <p:sldLayoutId id="2147483890" r:id="rId187"/>
    <p:sldLayoutId id="2147483891" r:id="rId188"/>
    <p:sldLayoutId id="2147483892" r:id="rId189"/>
    <p:sldLayoutId id="2147483893" r:id="rId190"/>
    <p:sldLayoutId id="2147483894" r:id="rId191"/>
    <p:sldLayoutId id="2147483896" r:id="rId192"/>
    <p:sldLayoutId id="2147483897" r:id="rId193"/>
    <p:sldLayoutId id="2147483898" r:id="rId194"/>
    <p:sldLayoutId id="2147483899" r:id="rId195"/>
    <p:sldLayoutId id="2147483900" r:id="rId196"/>
    <p:sldLayoutId id="2147483901" r:id="rId197"/>
    <p:sldLayoutId id="2147483902" r:id="rId198"/>
    <p:sldLayoutId id="2147483903" r:id="rId199"/>
    <p:sldLayoutId id="2147487126" r:id="rId200"/>
    <p:sldLayoutId id="2147487128" r:id="rId201"/>
    <p:sldLayoutId id="2147487127" r:id="rId202"/>
    <p:sldLayoutId id="2147487132" r:id="rId203"/>
    <p:sldLayoutId id="2147487133" r:id="rId204"/>
    <p:sldLayoutId id="2147487134" r:id="rId205"/>
    <p:sldLayoutId id="2147487135" r:id="rId206"/>
    <p:sldLayoutId id="2147487136" r:id="rId207"/>
    <p:sldLayoutId id="2147487137" r:id="rId208"/>
    <p:sldLayoutId id="2147487138" r:id="rId209"/>
    <p:sldLayoutId id="2147487139" r:id="rId210"/>
    <p:sldLayoutId id="2147487140" r:id="rId211"/>
    <p:sldLayoutId id="2147487141" r:id="rId212"/>
    <p:sldLayoutId id="2147483934" r:id="rId213"/>
    <p:sldLayoutId id="2147483935" r:id="rId214"/>
    <p:sldLayoutId id="2147483936" r:id="rId215"/>
    <p:sldLayoutId id="2147488345" r:id="rId216"/>
    <p:sldLayoutId id="2147486987" r:id="rId217"/>
    <p:sldLayoutId id="2147487355" r:id="rId218"/>
    <p:sldLayoutId id="2147487369" r:id="rId219"/>
    <p:sldLayoutId id="2147487356" r:id="rId220"/>
    <p:sldLayoutId id="2147487357" r:id="rId221"/>
    <p:sldLayoutId id="2147487358" r:id="rId222"/>
    <p:sldLayoutId id="2147485077" r:id="rId223"/>
    <p:sldLayoutId id="2147484851" r:id="rId224"/>
    <p:sldLayoutId id="2147487362" r:id="rId225"/>
    <p:sldLayoutId id="2147487360" r:id="rId226"/>
    <p:sldLayoutId id="2147488346" r:id="rId227"/>
    <p:sldLayoutId id="2147487359" r:id="rId228"/>
    <p:sldLayoutId id="2147487361" r:id="rId229"/>
    <p:sldLayoutId id="2147484627" r:id="rId230"/>
    <p:sldLayoutId id="2147485879" r:id="rId231"/>
    <p:sldLayoutId id="2147484838" r:id="rId232"/>
    <p:sldLayoutId id="2147485857" r:id="rId233"/>
    <p:sldLayoutId id="2147485858" r:id="rId234"/>
    <p:sldLayoutId id="2147485859" r:id="rId235"/>
    <p:sldLayoutId id="2147485860" r:id="rId236"/>
    <p:sldLayoutId id="2147485861" r:id="rId237"/>
    <p:sldLayoutId id="2147484634" r:id="rId238"/>
    <p:sldLayoutId id="2147484635" r:id="rId239"/>
    <p:sldLayoutId id="2147484238" r:id="rId240"/>
    <p:sldLayoutId id="2147486915" r:id="rId241"/>
    <p:sldLayoutId id="2147484840" r:id="rId242"/>
    <p:sldLayoutId id="2147486917" r:id="rId243"/>
    <p:sldLayoutId id="2147484203" r:id="rId244"/>
    <p:sldLayoutId id="2147484204" r:id="rId245"/>
    <p:sldLayoutId id="2147484205" r:id="rId246"/>
    <p:sldLayoutId id="2147484206" r:id="rId247"/>
    <p:sldLayoutId id="2147484237" r:id="rId248"/>
    <p:sldLayoutId id="2147484208" r:id="rId249"/>
    <p:sldLayoutId id="2147485064" r:id="rId250"/>
    <p:sldLayoutId id="2147485065" r:id="rId251"/>
    <p:sldLayoutId id="2147486965" r:id="rId252"/>
    <p:sldLayoutId id="2147484682" r:id="rId253"/>
    <p:sldLayoutId id="2147484683" r:id="rId254"/>
    <p:sldLayoutId id="2147484684" r:id="rId255"/>
    <p:sldLayoutId id="2147485573" r:id="rId256"/>
    <p:sldLayoutId id="2147485574" r:id="rId257"/>
    <p:sldLayoutId id="2147484686" r:id="rId258"/>
    <p:sldLayoutId id="2147484687" r:id="rId259"/>
    <p:sldLayoutId id="2147484688" r:id="rId260"/>
    <p:sldLayoutId id="2147484689" r:id="rId261"/>
    <p:sldLayoutId id="2147484690" r:id="rId262"/>
    <p:sldLayoutId id="2147484691" r:id="rId263"/>
    <p:sldLayoutId id="2147488310" r:id="rId264"/>
    <p:sldLayoutId id="2147485575" r:id="rId265"/>
    <p:sldLayoutId id="2147485577" r:id="rId266"/>
    <p:sldLayoutId id="2147488277" r:id="rId267"/>
    <p:sldLayoutId id="2147488278" r:id="rId268"/>
    <p:sldLayoutId id="2147488279" r:id="rId269"/>
    <p:sldLayoutId id="2147485578" r:id="rId270"/>
    <p:sldLayoutId id="2147485579" r:id="rId271"/>
    <p:sldLayoutId id="2147488280" r:id="rId272"/>
    <p:sldLayoutId id="2147488281" r:id="rId273"/>
    <p:sldLayoutId id="2147488282" r:id="rId274"/>
    <p:sldLayoutId id="2147488283" r:id="rId275"/>
    <p:sldLayoutId id="2147488284" r:id="rId276"/>
    <p:sldLayoutId id="2147488285" r:id="rId277"/>
    <p:sldLayoutId id="2147485066" r:id="rId278"/>
    <p:sldLayoutId id="2147485067" r:id="rId279"/>
    <p:sldLayoutId id="2147485068" r:id="rId280"/>
    <p:sldLayoutId id="2147485069" r:id="rId281"/>
    <p:sldLayoutId id="2147485352" r:id="rId282"/>
    <p:sldLayoutId id="2147485070" r:id="rId283"/>
    <p:sldLayoutId id="2147486030" r:id="rId284"/>
    <p:sldLayoutId id="2147485585" r:id="rId285"/>
    <p:sldLayoutId id="2147485586" r:id="rId286"/>
    <p:sldLayoutId id="2147485071" r:id="rId287"/>
    <p:sldLayoutId id="2147484626" r:id="rId288"/>
    <p:sldLayoutId id="2147484839" r:id="rId289"/>
    <p:sldLayoutId id="2147485847" r:id="rId290"/>
    <p:sldLayoutId id="2147485848" r:id="rId291"/>
    <p:sldLayoutId id="2147485849" r:id="rId292"/>
    <p:sldLayoutId id="2147485850" r:id="rId293"/>
    <p:sldLayoutId id="2147485851" r:id="rId294"/>
    <p:sldLayoutId id="2147485852" r:id="rId295"/>
    <p:sldLayoutId id="2147485853" r:id="rId296"/>
    <p:sldLayoutId id="2147485854" r:id="rId297"/>
    <p:sldLayoutId id="2147485855" r:id="rId298"/>
    <p:sldLayoutId id="2147485856" r:id="rId299"/>
    <p:sldLayoutId id="2147484384" r:id="rId300"/>
    <p:sldLayoutId id="2147485405" r:id="rId301"/>
    <p:sldLayoutId id="2147484559" r:id="rId302"/>
    <p:sldLayoutId id="2147484385" r:id="rId303"/>
    <p:sldLayoutId id="2147485406" r:id="rId304"/>
    <p:sldLayoutId id="2147484387" r:id="rId305"/>
    <p:sldLayoutId id="2147484388" r:id="rId306"/>
    <p:sldLayoutId id="2147484389" r:id="rId307"/>
    <p:sldLayoutId id="2147484390" r:id="rId308"/>
    <p:sldLayoutId id="2147484391" r:id="rId309"/>
    <p:sldLayoutId id="2147484392" r:id="rId310"/>
    <p:sldLayoutId id="2147486200" r:id="rId311"/>
    <p:sldLayoutId id="2147485878" r:id="rId312"/>
    <p:sldLayoutId id="2147484654" r:id="rId313"/>
    <p:sldLayoutId id="2147484655" r:id="rId314"/>
    <p:sldLayoutId id="2147484692" r:id="rId315"/>
    <p:sldLayoutId id="2147484608" r:id="rId316"/>
    <p:sldLayoutId id="2147485213" r:id="rId317"/>
    <p:sldLayoutId id="2147485214" r:id="rId318"/>
    <p:sldLayoutId id="2147485179" r:id="rId319"/>
    <p:sldLayoutId id="2147488344" r:id="rId320"/>
    <p:sldLayoutId id="2147486360" r:id="rId321"/>
    <p:sldLayoutId id="2147488297" r:id="rId322"/>
    <p:sldLayoutId id="2147486361" r:id="rId323"/>
    <p:sldLayoutId id="2147484335" r:id="rId324"/>
    <p:sldLayoutId id="2147484336" r:id="rId325"/>
    <p:sldLayoutId id="2147484337" r:id="rId326"/>
    <p:sldLayoutId id="2147484853" r:id="rId327"/>
    <p:sldLayoutId id="2147484339" r:id="rId328"/>
    <p:sldLayoutId id="2147484340" r:id="rId329"/>
    <p:sldLayoutId id="2147484341" r:id="rId330"/>
    <p:sldLayoutId id="2147484342" r:id="rId331"/>
    <p:sldLayoutId id="2147484343" r:id="rId332"/>
    <p:sldLayoutId id="2147484344" r:id="rId333"/>
    <p:sldLayoutId id="2147483877" r:id="rId334"/>
    <p:sldLayoutId id="2147484662" r:id="rId335"/>
    <p:sldLayoutId id="2147484676" r:id="rId336"/>
    <p:sldLayoutId id="2147484677" r:id="rId337"/>
    <p:sldLayoutId id="2147484678" r:id="rId338"/>
    <p:sldLayoutId id="2147484570" r:id="rId339"/>
    <p:sldLayoutId id="2147484571" r:id="rId340"/>
    <p:sldLayoutId id="2147484572" r:id="rId341"/>
    <p:sldLayoutId id="2147488306" r:id="rId342"/>
    <p:sldLayoutId id="2147488307" r:id="rId343"/>
    <p:sldLayoutId id="2147488308" r:id="rId344"/>
    <p:sldLayoutId id="2147488309" r:id="rId345"/>
    <p:sldLayoutId id="2147485468" r:id="rId346"/>
    <p:sldLayoutId id="2147485865" r:id="rId347"/>
    <p:sldLayoutId id="2147484364" r:id="rId348"/>
    <p:sldLayoutId id="2147485358" r:id="rId349"/>
    <p:sldLayoutId id="2147485868" r:id="rId350"/>
    <p:sldLayoutId id="2147485869" r:id="rId351"/>
    <p:sldLayoutId id="2147485870" r:id="rId352"/>
    <p:sldLayoutId id="2147485385" r:id="rId353"/>
    <p:sldLayoutId id="2147485871" r:id="rId354"/>
    <p:sldLayoutId id="2147485469" r:id="rId355"/>
    <p:sldLayoutId id="2147484222" r:id="rId356"/>
    <p:sldLayoutId id="2147484854" r:id="rId357"/>
    <p:sldLayoutId id="2147484852" r:id="rId358"/>
    <p:sldLayoutId id="2147485093" r:id="rId359"/>
    <p:sldLayoutId id="2147485072" r:id="rId360"/>
    <p:sldLayoutId id="2147485355" r:id="rId361"/>
    <p:sldLayoutId id="2147484355" r:id="rId362"/>
    <p:sldLayoutId id="2147485444" r:id="rId363"/>
    <p:sldLayoutId id="2147484356" r:id="rId364"/>
    <p:sldLayoutId id="2147483860" r:id="rId365"/>
    <p:sldLayoutId id="2147484357" r:id="rId366"/>
    <p:sldLayoutId id="2147484358" r:id="rId367"/>
    <p:sldLayoutId id="2147484359" r:id="rId368"/>
    <p:sldLayoutId id="2147484360" r:id="rId369"/>
    <p:sldLayoutId id="2147484361" r:id="rId370"/>
    <p:sldLayoutId id="2147484393" r:id="rId371"/>
    <p:sldLayoutId id="2147484394" r:id="rId372"/>
    <p:sldLayoutId id="2147484566" r:id="rId373"/>
    <p:sldLayoutId id="2147485470" r:id="rId374"/>
    <p:sldLayoutId id="2147484231" r:id="rId375"/>
    <p:sldLayoutId id="2147484268" r:id="rId376"/>
    <p:sldLayoutId id="2147484235" r:id="rId377"/>
    <p:sldLayoutId id="2147484847" r:id="rId378"/>
    <p:sldLayoutId id="2147484245" r:id="rId379"/>
    <p:sldLayoutId id="2147484262" r:id="rId380"/>
    <p:sldLayoutId id="2147486955" r:id="rId381"/>
    <p:sldLayoutId id="2147485238" r:id="rId382"/>
    <p:sldLayoutId id="2147486956" r:id="rId383"/>
    <p:sldLayoutId id="2147484233" r:id="rId384"/>
    <p:sldLayoutId id="2147484577" r:id="rId385"/>
    <p:sldLayoutId id="2147488287" r:id="rId386"/>
    <p:sldLayoutId id="2147488288" r:id="rId387"/>
    <p:sldLayoutId id="2147485588" r:id="rId388"/>
    <p:sldLayoutId id="2147488289" r:id="rId389"/>
    <p:sldLayoutId id="2147488290" r:id="rId390"/>
    <p:sldLayoutId id="2147488291" r:id="rId391"/>
    <p:sldLayoutId id="2147488292" r:id="rId392"/>
    <p:sldLayoutId id="2147488293" r:id="rId393"/>
    <p:sldLayoutId id="2147484578" r:id="rId394"/>
    <p:sldLayoutId id="2147485589" r:id="rId395"/>
    <p:sldLayoutId id="2147486251" r:id="rId396"/>
    <p:sldLayoutId id="2147484334" r:id="rId397"/>
    <p:sldLayoutId id="2147487351" r:id="rId398"/>
    <p:sldLayoutId id="2147486990" r:id="rId399"/>
    <p:sldLayoutId id="2147484585" r:id="rId400"/>
    <p:sldLayoutId id="2147484586" r:id="rId401"/>
    <p:sldLayoutId id="2147484587" r:id="rId402"/>
    <p:sldLayoutId id="2147484588" r:id="rId403"/>
    <p:sldLayoutId id="2147484592" r:id="rId404"/>
    <p:sldLayoutId id="2147488383" r:id="rId405"/>
    <p:sldLayoutId id="2147484594" r:id="rId406"/>
    <p:sldLayoutId id="2147487156" r:id="rId407"/>
    <p:sldLayoutId id="2147485370" r:id="rId408"/>
    <p:sldLayoutId id="2147485872" r:id="rId409"/>
    <p:sldLayoutId id="2147486927" r:id="rId410"/>
    <p:sldLayoutId id="2147485367" r:id="rId411"/>
    <p:sldLayoutId id="2147485368" r:id="rId412"/>
    <p:sldLayoutId id="2147485369" r:id="rId413"/>
    <p:sldLayoutId id="2147485400" r:id="rId414"/>
    <p:sldLayoutId id="2147485401" r:id="rId415"/>
    <p:sldLayoutId id="2147485402" r:id="rId416"/>
    <p:sldLayoutId id="2147485403" r:id="rId417"/>
    <p:sldLayoutId id="2147488347" r:id="rId418"/>
    <p:sldLayoutId id="2147484477" r:id="rId419"/>
    <p:sldLayoutId id="2147484478" r:id="rId420"/>
    <p:sldLayoutId id="2147484260" r:id="rId421"/>
    <p:sldLayoutId id="2147484856" r:id="rId422"/>
    <p:sldLayoutId id="2147484480" r:id="rId423"/>
    <p:sldLayoutId id="2147484267" r:id="rId424"/>
    <p:sldLayoutId id="2147484481" r:id="rId425"/>
    <p:sldLayoutId id="2147484482" r:id="rId426"/>
    <p:sldLayoutId id="2147484483" r:id="rId427"/>
    <p:sldLayoutId id="2147484484" r:id="rId428"/>
    <p:sldLayoutId id="2147486991" r:id="rId429"/>
    <p:sldLayoutId id="2147486992" r:id="rId430"/>
    <p:sldLayoutId id="2147486252" r:id="rId431"/>
    <p:sldLayoutId id="2147486253" r:id="rId432"/>
    <p:sldLayoutId id="2147486363" r:id="rId433"/>
    <p:sldLayoutId id="2147487006" r:id="rId434"/>
    <p:sldLayoutId id="2147486364" r:id="rId435"/>
    <p:sldLayoutId id="2147486365" r:id="rId436"/>
    <p:sldLayoutId id="2147487007" r:id="rId437"/>
    <p:sldLayoutId id="2147488386" r:id="rId438"/>
    <p:sldLayoutId id="2147486366" r:id="rId439"/>
    <p:sldLayoutId id="2147483940" r:id="rId440"/>
    <p:sldLayoutId id="2147486367" r:id="rId441"/>
    <p:sldLayoutId id="2147486368" r:id="rId442"/>
    <p:sldLayoutId id="2147486369" r:id="rId443"/>
    <p:sldLayoutId id="2147483944" r:id="rId444"/>
    <p:sldLayoutId id="2147483945" r:id="rId445"/>
    <p:sldLayoutId id="2147483967" r:id="rId446"/>
    <p:sldLayoutId id="2147483968" r:id="rId447"/>
    <p:sldLayoutId id="2147483969" r:id="rId448"/>
    <p:sldLayoutId id="2147483970" r:id="rId449"/>
    <p:sldLayoutId id="2147483971" r:id="rId450"/>
    <p:sldLayoutId id="2147483972" r:id="rId451"/>
    <p:sldLayoutId id="2147483973" r:id="rId452"/>
    <p:sldLayoutId id="2147483976" r:id="rId453"/>
    <p:sldLayoutId id="2147483977" r:id="rId454"/>
    <p:sldLayoutId id="2147483978" r:id="rId455"/>
    <p:sldLayoutId id="2147483983" r:id="rId456"/>
    <p:sldLayoutId id="2147483984" r:id="rId457"/>
    <p:sldLayoutId id="2147483985" r:id="rId458"/>
    <p:sldLayoutId id="2147483986" r:id="rId459"/>
    <p:sldLayoutId id="2147483989" r:id="rId460"/>
    <p:sldLayoutId id="2147483990" r:id="rId461"/>
    <p:sldLayoutId id="2147483991" r:id="rId462"/>
    <p:sldLayoutId id="2147483992" r:id="rId463"/>
    <p:sldLayoutId id="2147483993" r:id="rId464"/>
    <p:sldLayoutId id="2147483996" r:id="rId465"/>
    <p:sldLayoutId id="2147483997" r:id="rId466"/>
    <p:sldLayoutId id="2147483998" r:id="rId467"/>
    <p:sldLayoutId id="2147483999" r:id="rId468"/>
    <p:sldLayoutId id="2147484000" r:id="rId469"/>
    <p:sldLayoutId id="2147484001" r:id="rId470"/>
    <p:sldLayoutId id="2147484652" r:id="rId471"/>
    <p:sldLayoutId id="2147484653" r:id="rId472"/>
    <p:sldLayoutId id="2147487008" r:id="rId473"/>
    <p:sldLayoutId id="2147487009" r:id="rId474"/>
    <p:sldLayoutId id="2147487010" r:id="rId475"/>
    <p:sldLayoutId id="2147488387" r:id="rId476"/>
    <p:sldLayoutId id="2147487011" r:id="rId477"/>
    <p:sldLayoutId id="2147487012" r:id="rId478"/>
    <p:sldLayoutId id="2147487013" r:id="rId479"/>
    <p:sldLayoutId id="2147488239" r:id="rId480"/>
    <p:sldLayoutId id="2147485425" r:id="rId481"/>
    <p:sldLayoutId id="2147485903" r:id="rId482"/>
    <p:sldLayoutId id="2147485904" r:id="rId483"/>
    <p:sldLayoutId id="2147485391" r:id="rId484"/>
    <p:sldLayoutId id="2147485392" r:id="rId485"/>
    <p:sldLayoutId id="2147484376" r:id="rId486"/>
    <p:sldLayoutId id="2147485905" r:id="rId487"/>
    <p:sldLayoutId id="2147485906" r:id="rId488"/>
    <p:sldLayoutId id="2147485394" r:id="rId489"/>
    <p:sldLayoutId id="2147485395" r:id="rId490"/>
    <p:sldLayoutId id="2147486284" r:id="rId491"/>
    <p:sldLayoutId id="2147484378" r:id="rId492"/>
    <p:sldLayoutId id="2147484379" r:id="rId493"/>
    <p:sldLayoutId id="2147485396" r:id="rId494"/>
    <p:sldLayoutId id="2147488079" r:id="rId495"/>
    <p:sldLayoutId id="2147488240" r:id="rId496"/>
    <p:sldLayoutId id="2147488241" r:id="rId497"/>
  </p:sldLayoutIdLst>
  <p:hf hd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b="1" i="0" kern="1200">
          <a:solidFill>
            <a:schemeClr val="accent1"/>
          </a:solidFill>
          <a:latin typeface="+mj-lt"/>
          <a:ea typeface="Lato Medium" panose="020F0502020204030203" pitchFamily="34" charset="0"/>
          <a:cs typeface="Lato Medium" panose="020F0502020204030203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1"/>
        </a:buClr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spcAft>
          <a:spcPts val="1000"/>
        </a:spcAft>
        <a:buClr>
          <a:schemeClr val="accent2"/>
        </a:buClr>
        <a:buFont typeface="Arial" panose="020B0604020202020204" pitchFamily="34" charset="0"/>
        <a:buChar char="•"/>
        <a:defRPr sz="1600" b="0" i="0" kern="1200">
          <a:solidFill>
            <a:schemeClr val="tx1"/>
          </a:solidFill>
          <a:latin typeface="+mn-lt"/>
          <a:ea typeface="Lato" panose="020F0502020204030203" pitchFamily="34" charset="0"/>
          <a:cs typeface="Lato" panose="020F0502020204030203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36"/>
          <p:cNvSpPr txBox="1">
            <a:spLocks noGrp="1"/>
          </p:cNvSpPr>
          <p:nvPr>
            <p:ph type="title"/>
          </p:nvPr>
        </p:nvSpPr>
        <p:spPr>
          <a:xfrm>
            <a:off x="609600" y="365125"/>
            <a:ext cx="10972800" cy="13255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3600"/>
              <a:buFont typeface="Calibri"/>
              <a:buNone/>
              <a:defRPr sz="3600" b="1" i="0" u="none" strike="noStrike" cap="none">
                <a:solidFill>
                  <a:schemeClr val="accent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1" name="Google Shape;11;p36"/>
          <p:cNvSpPr txBox="1">
            <a:spLocks noGrp="1"/>
          </p:cNvSpPr>
          <p:nvPr>
            <p:ph type="body" idx="1"/>
          </p:nvPr>
        </p:nvSpPr>
        <p:spPr>
          <a:xfrm>
            <a:off x="609600" y="1825625"/>
            <a:ext cx="10972800" cy="435133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3810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3556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3429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12" name="Google Shape;12;p36"/>
          <p:cNvSpPr txBox="1">
            <a:spLocks noGrp="1"/>
          </p:cNvSpPr>
          <p:nvPr>
            <p:ph type="sldNum" idx="12"/>
          </p:nvPr>
        </p:nvSpPr>
        <p:spPr>
          <a:xfrm>
            <a:off x="8839200" y="6356350"/>
            <a:ext cx="27432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3" name="Google Shape;13;p36"/>
          <p:cNvSpPr txBox="1">
            <a:spLocks noGrp="1"/>
          </p:cNvSpPr>
          <p:nvPr>
            <p:ph type="ftr" idx="11"/>
          </p:nvPr>
        </p:nvSpPr>
        <p:spPr>
          <a:xfrm>
            <a:off x="609600" y="6356350"/>
            <a:ext cx="4114800" cy="365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rgbClr val="919497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8373" r:id="rId1"/>
    <p:sldLayoutId id="2147488374" r:id="rId2"/>
    <p:sldLayoutId id="2147488375" r:id="rId3"/>
    <p:sldLayoutId id="2147488376" r:id="rId4"/>
    <p:sldLayoutId id="2147488377" r:id="rId5"/>
    <p:sldLayoutId id="2147488378" r:id="rId6"/>
    <p:sldLayoutId id="2147488379" r:id="rId7"/>
    <p:sldLayoutId id="2147488380" r:id="rId8"/>
    <p:sldLayoutId id="2147488381" r:id="rId9"/>
    <p:sldLayoutId id="2147488382" r:id="rId10"/>
    <p:sldLayoutId id="2147488312" r:id="rId11"/>
    <p:sldLayoutId id="2147488327" r:id="rId12"/>
    <p:sldLayoutId id="2147488328" r:id="rId13"/>
    <p:sldLayoutId id="2147488329" r:id="rId14"/>
    <p:sldLayoutId id="2147488330" r:id="rId15"/>
    <p:sldLayoutId id="2147488331" r:id="rId16"/>
    <p:sldLayoutId id="2147488332" r:id="rId17"/>
    <p:sldLayoutId id="2147488333" r:id="rId18"/>
    <p:sldLayoutId id="2147488334" r:id="rId19"/>
    <p:sldLayoutId id="2147488335" r:id="rId20"/>
    <p:sldLayoutId id="2147488336" r:id="rId21"/>
    <p:sldLayoutId id="2147488337" r:id="rId22"/>
    <p:sldLayoutId id="2147488394" r:id="rId23"/>
    <p:sldLayoutId id="2147488395" r:id="rId24"/>
    <p:sldLayoutId id="2147488396" r:id="rId25"/>
    <p:sldLayoutId id="2147488323" r:id="rId26"/>
    <p:sldLayoutId id="2147488397" r:id="rId27"/>
    <p:sldLayoutId id="2147488398" r:id="rId28"/>
    <p:sldLayoutId id="2147488399" r:id="rId29"/>
    <p:sldLayoutId id="2147488400" r:id="rId30"/>
    <p:sldLayoutId id="2147488401" r:id="rId31"/>
    <p:sldLayoutId id="2147488402" r:id="rId32"/>
    <p:sldLayoutId id="2147488403" r:id="rId33"/>
    <p:sldLayoutId id="2147488404" r:id="rId34"/>
    <p:sldLayoutId id="2147488405" r:id="rId35"/>
    <p:sldLayoutId id="2147488406" r:id="rId36"/>
    <p:sldLayoutId id="2147488407" r:id="rId37"/>
    <p:sldLayoutId id="2147488408" r:id="rId38"/>
    <p:sldLayoutId id="2147488409" r:id="rId39"/>
    <p:sldLayoutId id="2147488410" r:id="rId40"/>
    <p:sldLayoutId id="2147488411" r:id="rId41"/>
    <p:sldLayoutId id="2147488412" r:id="rId42"/>
    <p:sldLayoutId id="2147488413" r:id="rId43"/>
    <p:sldLayoutId id="2147488414" r:id="rId44"/>
    <p:sldLayoutId id="2147488415" r:id="rId45"/>
    <p:sldLayoutId id="2147488416" r:id="rId46"/>
    <p:sldLayoutId id="2147488417" r:id="rId47"/>
    <p:sldLayoutId id="2147488418" r:id="rId48"/>
    <p:sldLayoutId id="2147488419" r:id="rId49"/>
    <p:sldLayoutId id="2147488420" r:id="rId50"/>
    <p:sldLayoutId id="2147488421" r:id="rId51"/>
    <p:sldLayoutId id="2147488422" r:id="rId52"/>
    <p:sldLayoutId id="2147488423" r:id="rId53"/>
    <p:sldLayoutId id="2147488424" r:id="rId54"/>
    <p:sldLayoutId id="2147488425" r:id="rId55"/>
    <p:sldLayoutId id="2147488426" r:id="rId56"/>
    <p:sldLayoutId id="2147488427" r:id="rId57"/>
    <p:sldLayoutId id="2147488428" r:id="rId58"/>
    <p:sldLayoutId id="2147488429" r:id="rId59"/>
    <p:sldLayoutId id="2147488430" r:id="rId60"/>
    <p:sldLayoutId id="2147488431" r:id="rId61"/>
    <p:sldLayoutId id="2147488432" r:id="rId62"/>
    <p:sldLayoutId id="2147488433" r:id="rId63"/>
    <p:sldLayoutId id="2147488434" r:id="rId64"/>
    <p:sldLayoutId id="2147488435" r:id="rId65"/>
    <p:sldLayoutId id="2147488436" r:id="rId66"/>
    <p:sldLayoutId id="2147488317" r:id="rId67"/>
    <p:sldLayoutId id="2147488318" r:id="rId68"/>
    <p:sldLayoutId id="2147488319" r:id="rId69"/>
    <p:sldLayoutId id="2147488437" r:id="rId70"/>
    <p:sldLayoutId id="2147488438" r:id="rId71"/>
    <p:sldLayoutId id="2147488439" r:id="rId72"/>
    <p:sldLayoutId id="2147488316" r:id="rId73"/>
    <p:sldLayoutId id="2147488440" r:id="rId74"/>
    <p:sldLayoutId id="2147488441" r:id="rId75"/>
    <p:sldLayoutId id="2147488442" r:id="rId76"/>
    <p:sldLayoutId id="2147488443" r:id="rId77"/>
    <p:sldLayoutId id="2147488444" r:id="rId78"/>
    <p:sldLayoutId id="2147488445" r:id="rId79"/>
    <p:sldLayoutId id="2147488446" r:id="rId80"/>
    <p:sldLayoutId id="2147488447" r:id="rId81"/>
    <p:sldLayoutId id="2147488448" r:id="rId82"/>
    <p:sldLayoutId id="2147488449" r:id="rId83"/>
    <p:sldLayoutId id="2147488450" r:id="rId84"/>
    <p:sldLayoutId id="2147488451" r:id="rId85"/>
    <p:sldLayoutId id="2147488452" r:id="rId86"/>
    <p:sldLayoutId id="2147488453" r:id="rId87"/>
    <p:sldLayoutId id="2147488454" r:id="rId88"/>
    <p:sldLayoutId id="2147488455" r:id="rId89"/>
    <p:sldLayoutId id="2147488456" r:id="rId90"/>
    <p:sldLayoutId id="2147488457" r:id="rId91"/>
    <p:sldLayoutId id="2147488458" r:id="rId92"/>
    <p:sldLayoutId id="2147488459" r:id="rId93"/>
    <p:sldLayoutId id="2147488460" r:id="rId94"/>
    <p:sldLayoutId id="2147488461" r:id="rId95"/>
    <p:sldLayoutId id="2147488462" r:id="rId96"/>
    <p:sldLayoutId id="2147488463" r:id="rId97"/>
    <p:sldLayoutId id="2147488464" r:id="rId98"/>
    <p:sldLayoutId id="2147488465" r:id="rId99"/>
    <p:sldLayoutId id="2147488466" r:id="rId100"/>
    <p:sldLayoutId id="2147488467" r:id="rId101"/>
    <p:sldLayoutId id="2147488468" r:id="rId102"/>
    <p:sldLayoutId id="2147488469" r:id="rId103"/>
    <p:sldLayoutId id="2147488470" r:id="rId104"/>
    <p:sldLayoutId id="2147488471" r:id="rId105"/>
    <p:sldLayoutId id="2147488472" r:id="rId106"/>
    <p:sldLayoutId id="2147488473" r:id="rId107"/>
    <p:sldLayoutId id="2147488474" r:id="rId108"/>
    <p:sldLayoutId id="2147488475" r:id="rId109"/>
    <p:sldLayoutId id="2147488476" r:id="rId110"/>
    <p:sldLayoutId id="2147488477" r:id="rId111"/>
    <p:sldLayoutId id="2147488478" r:id="rId112"/>
    <p:sldLayoutId id="2147488479" r:id="rId113"/>
    <p:sldLayoutId id="2147488480" r:id="rId114"/>
    <p:sldLayoutId id="2147488481" r:id="rId115"/>
    <p:sldLayoutId id="2147488482" r:id="rId116"/>
    <p:sldLayoutId id="2147488483" r:id="rId117"/>
    <p:sldLayoutId id="2147488484" r:id="rId118"/>
    <p:sldLayoutId id="2147488485" r:id="rId119"/>
    <p:sldLayoutId id="2147488486" r:id="rId120"/>
    <p:sldLayoutId id="2147488487" r:id="rId121"/>
    <p:sldLayoutId id="2147488488" r:id="rId122"/>
    <p:sldLayoutId id="2147488489" r:id="rId123"/>
    <p:sldLayoutId id="2147488490" r:id="rId124"/>
    <p:sldLayoutId id="2147488491" r:id="rId125"/>
    <p:sldLayoutId id="2147488492" r:id="rId126"/>
    <p:sldLayoutId id="2147488493" r:id="rId127"/>
    <p:sldLayoutId id="2147488494" r:id="rId128"/>
    <p:sldLayoutId id="2147488495" r:id="rId129"/>
    <p:sldLayoutId id="2147488496" r:id="rId130"/>
    <p:sldLayoutId id="2147488497" r:id="rId131"/>
    <p:sldLayoutId id="2147488498" r:id="rId132"/>
    <p:sldLayoutId id="2147488499" r:id="rId133"/>
    <p:sldLayoutId id="2147488500" r:id="rId134"/>
    <p:sldLayoutId id="2147488501" r:id="rId135"/>
    <p:sldLayoutId id="2147488502" r:id="rId136"/>
    <p:sldLayoutId id="2147488503" r:id="rId137"/>
    <p:sldLayoutId id="2147488504" r:id="rId138"/>
    <p:sldLayoutId id="2147488505" r:id="rId139"/>
    <p:sldLayoutId id="2147488506" r:id="rId140"/>
    <p:sldLayoutId id="2147488507" r:id="rId141"/>
    <p:sldLayoutId id="2147488508" r:id="rId142"/>
    <p:sldLayoutId id="2147488509" r:id="rId143"/>
    <p:sldLayoutId id="2147488510" r:id="rId144"/>
    <p:sldLayoutId id="2147488511" r:id="rId145"/>
    <p:sldLayoutId id="2147488512" r:id="rId146"/>
    <p:sldLayoutId id="2147488513" r:id="rId147"/>
    <p:sldLayoutId id="2147488514" r:id="rId148"/>
    <p:sldLayoutId id="2147488515" r:id="rId149"/>
    <p:sldLayoutId id="2147488516" r:id="rId150"/>
    <p:sldLayoutId id="2147488517" r:id="rId151"/>
    <p:sldLayoutId id="2147488518" r:id="rId152"/>
    <p:sldLayoutId id="2147488519" r:id="rId153"/>
    <p:sldLayoutId id="2147488520" r:id="rId154"/>
    <p:sldLayoutId id="2147488521" r:id="rId155"/>
    <p:sldLayoutId id="2147488522" r:id="rId156"/>
    <p:sldLayoutId id="2147488523" r:id="rId157"/>
    <p:sldLayoutId id="2147488524" r:id="rId158"/>
    <p:sldLayoutId id="2147488525" r:id="rId159"/>
    <p:sldLayoutId id="2147488526" r:id="rId160"/>
    <p:sldLayoutId id="2147488527" r:id="rId161"/>
    <p:sldLayoutId id="2147488528" r:id="rId162"/>
    <p:sldLayoutId id="2147488529" r:id="rId163"/>
    <p:sldLayoutId id="2147488530" r:id="rId164"/>
    <p:sldLayoutId id="2147488320" r:id="rId165"/>
    <p:sldLayoutId id="2147488321" r:id="rId166"/>
    <p:sldLayoutId id="2147488322" r:id="rId167"/>
    <p:sldLayoutId id="2147488531" r:id="rId168"/>
    <p:sldLayoutId id="2147488532" r:id="rId169"/>
    <p:sldLayoutId id="2147488533" r:id="rId170"/>
    <p:sldLayoutId id="2147488534" r:id="rId171"/>
    <p:sldLayoutId id="2147488535" r:id="rId172"/>
    <p:sldLayoutId id="2147488536" r:id="rId173"/>
    <p:sldLayoutId id="2147488537" r:id="rId174"/>
    <p:sldLayoutId id="2147488538" r:id="rId175"/>
    <p:sldLayoutId id="2147488539" r:id="rId176"/>
    <p:sldLayoutId id="2147488540" r:id="rId177"/>
    <p:sldLayoutId id="2147488541" r:id="rId178"/>
    <p:sldLayoutId id="2147488542" r:id="rId179"/>
    <p:sldLayoutId id="2147488543" r:id="rId180"/>
    <p:sldLayoutId id="2147488544" r:id="rId181"/>
    <p:sldLayoutId id="2147488545" r:id="rId182"/>
    <p:sldLayoutId id="2147488546" r:id="rId183"/>
    <p:sldLayoutId id="2147488547" r:id="rId184"/>
    <p:sldLayoutId id="2147488315" r:id="rId185"/>
    <p:sldLayoutId id="2147488548" r:id="rId186"/>
    <p:sldLayoutId id="2147488549" r:id="rId187"/>
    <p:sldLayoutId id="2147488550" r:id="rId188"/>
    <p:sldLayoutId id="2147488551" r:id="rId189"/>
    <p:sldLayoutId id="2147488552" r:id="rId190"/>
    <p:sldLayoutId id="2147488553" r:id="rId191"/>
    <p:sldLayoutId id="2147488554" r:id="rId192"/>
    <p:sldLayoutId id="2147488555" r:id="rId193"/>
    <p:sldLayoutId id="2147488556" r:id="rId194"/>
    <p:sldLayoutId id="2147488557" r:id="rId195"/>
    <p:sldLayoutId id="2147488558" r:id="rId196"/>
    <p:sldLayoutId id="2147488559" r:id="rId197"/>
    <p:sldLayoutId id="2147488313" r:id="rId198"/>
    <p:sldLayoutId id="2147488314" r:id="rId199"/>
    <p:sldLayoutId id="2147488371" r:id="rId200"/>
    <p:sldLayoutId id="2147488618" r:id="rId201"/>
    <p:sldLayoutId id="2147488619" r:id="rId20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lt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950967" y="593367"/>
            <a:ext cx="10290000" cy="76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950967" y="1536633"/>
            <a:ext cx="10290000" cy="455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●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1pPr>
            <a:lvl2pPr marL="914400" lvl="1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○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2pPr>
            <a:lvl3pPr marL="1371600" lvl="2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■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3pPr>
            <a:lvl4pPr marL="1828800" lvl="3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●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4pPr>
            <a:lvl5pPr marL="2286000" lvl="4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○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5pPr>
            <a:lvl6pPr marL="2743200" lvl="5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■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6pPr>
            <a:lvl7pPr marL="3200400" lvl="6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●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7pPr>
            <a:lvl8pPr marL="3657600" lvl="7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○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8pPr>
            <a:lvl9pPr marL="4114800" lvl="8" indent="-3175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DM Sans"/>
              <a:buChar char="■"/>
              <a:defRPr>
                <a:solidFill>
                  <a:schemeClr val="dk1"/>
                </a:solidFill>
                <a:latin typeface="DM Sans"/>
                <a:ea typeface="DM Sans"/>
                <a:cs typeface="DM Sans"/>
                <a:sym typeface="DM Sans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8" r:id="rId1"/>
    <p:sldLayoutId id="2147483649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  <p:sldLayoutId id="2147483660" r:id="rId13"/>
    <p:sldLayoutId id="2147483661" r:id="rId14"/>
    <p:sldLayoutId id="2147483662" r:id="rId15"/>
    <p:sldLayoutId id="2147483663" r:id="rId16"/>
    <p:sldLayoutId id="2147483664" r:id="rId17"/>
    <p:sldLayoutId id="2147483665" r:id="rId18"/>
    <p:sldLayoutId id="2147483666" r:id="rId19"/>
    <p:sldLayoutId id="2147483667" r:id="rId20"/>
    <p:sldLayoutId id="2147483668" r:id="rId21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png"/><Relationship Id="rId1" Type="http://schemas.openxmlformats.org/officeDocument/2006/relationships/slideLayout" Target="../slideLayouts/slideLayout3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08.png"/><Relationship Id="rId5" Type="http://schemas.openxmlformats.org/officeDocument/2006/relationships/image" Target="../media/image107.png"/><Relationship Id="rId4" Type="http://schemas.openxmlformats.org/officeDocument/2006/relationships/hyperlink" Target="https://www.nature.com/articles/s41372-024-01915-5" TargetMode="Externa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18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pqcc.org/NELP-resource-bundle" TargetMode="Externa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28.xml"/><Relationship Id="rId5" Type="http://schemas.openxmlformats.org/officeDocument/2006/relationships/image" Target="../media/image110.png"/><Relationship Id="rId4" Type="http://schemas.openxmlformats.org/officeDocument/2006/relationships/image" Target="../media/image109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18.xml"/><Relationship Id="rId5" Type="http://schemas.openxmlformats.org/officeDocument/2006/relationships/image" Target="../media/image113.png"/><Relationship Id="rId4" Type="http://schemas.openxmlformats.org/officeDocument/2006/relationships/image" Target="../media/image112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4.png"/><Relationship Id="rId1" Type="http://schemas.openxmlformats.org/officeDocument/2006/relationships/slideLayout" Target="../slideLayouts/slideLayout728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5.png"/><Relationship Id="rId1" Type="http://schemas.openxmlformats.org/officeDocument/2006/relationships/slideLayout" Target="../slideLayouts/slideLayout72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7.png"/><Relationship Id="rId2" Type="http://schemas.openxmlformats.org/officeDocument/2006/relationships/image" Target="../media/image116.png"/><Relationship Id="rId1" Type="http://schemas.openxmlformats.org/officeDocument/2006/relationships/slideLayout" Target="../slideLayouts/slideLayout728.xml"/><Relationship Id="rId4" Type="http://schemas.openxmlformats.org/officeDocument/2006/relationships/image" Target="../media/image118.jpe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0.png"/><Relationship Id="rId2" Type="http://schemas.openxmlformats.org/officeDocument/2006/relationships/image" Target="../media/image119.png"/><Relationship Id="rId1" Type="http://schemas.openxmlformats.org/officeDocument/2006/relationships/slideLayout" Target="../slideLayouts/slideLayout728.xml"/><Relationship Id="rId5" Type="http://schemas.openxmlformats.org/officeDocument/2006/relationships/image" Target="../media/image122.png"/><Relationship Id="rId4" Type="http://schemas.openxmlformats.org/officeDocument/2006/relationships/image" Target="../media/image121.png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Layout" Target="../slideLayouts/slideLayout40.xml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9.png"/><Relationship Id="rId3" Type="http://schemas.openxmlformats.org/officeDocument/2006/relationships/image" Target="../media/image124.png"/><Relationship Id="rId7" Type="http://schemas.openxmlformats.org/officeDocument/2006/relationships/image" Target="../media/image128.sv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27.png"/><Relationship Id="rId11" Type="http://schemas.openxmlformats.org/officeDocument/2006/relationships/image" Target="../media/image132.svg"/><Relationship Id="rId5" Type="http://schemas.openxmlformats.org/officeDocument/2006/relationships/image" Target="../media/image126.png"/><Relationship Id="rId10" Type="http://schemas.openxmlformats.org/officeDocument/2006/relationships/image" Target="../media/image131.png"/><Relationship Id="rId4" Type="http://schemas.openxmlformats.org/officeDocument/2006/relationships/image" Target="../media/image125.svg"/><Relationship Id="rId9" Type="http://schemas.openxmlformats.org/officeDocument/2006/relationships/image" Target="../media/image130.sv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png"/><Relationship Id="rId1" Type="http://schemas.openxmlformats.org/officeDocument/2006/relationships/slideLayout" Target="../slideLayouts/slideLayout4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4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1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36.svg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7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3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6.svg"/><Relationship Id="rId3" Type="http://schemas.openxmlformats.org/officeDocument/2006/relationships/image" Target="../media/image81.png"/><Relationship Id="rId7" Type="http://schemas.openxmlformats.org/officeDocument/2006/relationships/image" Target="../media/image8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3.xml"/><Relationship Id="rId6" Type="http://schemas.openxmlformats.org/officeDocument/2006/relationships/image" Target="../media/image84.svg"/><Relationship Id="rId5" Type="http://schemas.openxmlformats.org/officeDocument/2006/relationships/image" Target="../media/image83.png"/><Relationship Id="rId4" Type="http://schemas.openxmlformats.org/officeDocument/2006/relationships/image" Target="../media/image82.svg"/><Relationship Id="rId9" Type="http://schemas.openxmlformats.org/officeDocument/2006/relationships/image" Target="../media/image8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3.svg"/><Relationship Id="rId13" Type="http://schemas.openxmlformats.org/officeDocument/2006/relationships/image" Target="../media/image98.png"/><Relationship Id="rId3" Type="http://schemas.openxmlformats.org/officeDocument/2006/relationships/image" Target="../media/image88.png"/><Relationship Id="rId7" Type="http://schemas.openxmlformats.org/officeDocument/2006/relationships/image" Target="../media/image92.png"/><Relationship Id="rId12" Type="http://schemas.openxmlformats.org/officeDocument/2006/relationships/image" Target="../media/image97.svg"/><Relationship Id="rId17" Type="http://schemas.openxmlformats.org/officeDocument/2006/relationships/image" Target="../media/image102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01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1.svg"/><Relationship Id="rId11" Type="http://schemas.openxmlformats.org/officeDocument/2006/relationships/image" Target="../media/image96.png"/><Relationship Id="rId5" Type="http://schemas.openxmlformats.org/officeDocument/2006/relationships/image" Target="../media/image90.png"/><Relationship Id="rId15" Type="http://schemas.openxmlformats.org/officeDocument/2006/relationships/image" Target="../media/image100.png"/><Relationship Id="rId10" Type="http://schemas.openxmlformats.org/officeDocument/2006/relationships/image" Target="../media/image95.svg"/><Relationship Id="rId4" Type="http://schemas.openxmlformats.org/officeDocument/2006/relationships/image" Target="../media/image89.svg"/><Relationship Id="rId9" Type="http://schemas.openxmlformats.org/officeDocument/2006/relationships/image" Target="../media/image94.png"/><Relationship Id="rId14" Type="http://schemas.openxmlformats.org/officeDocument/2006/relationships/image" Target="../media/image99.sv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D742501-F937-8041-84E5-748F96AE991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91224" y="3173680"/>
            <a:ext cx="5194433" cy="1826339"/>
          </a:xfrm>
        </p:spPr>
        <p:txBody>
          <a:bodyPr/>
          <a:lstStyle/>
          <a:p>
            <a:pPr lvl="1" algn="ctr"/>
            <a:r>
              <a:rPr lang="en-US" sz="4800" b="1">
                <a:solidFill>
                  <a:srgbClr val="1C498B"/>
                </a:solidFill>
                <a:latin typeface="DM Sans"/>
                <a:ea typeface="+mj-lt"/>
                <a:cs typeface="+mj-lt"/>
              </a:rPr>
              <a:t>Equity and Safe Sleep for Infant</a:t>
            </a:r>
            <a:r>
              <a:rPr lang="en-US" sz="4800" b="1">
                <a:solidFill>
                  <a:schemeClr val="accent1"/>
                </a:solidFill>
                <a:latin typeface="DM Sans"/>
                <a:ea typeface="+mj-lt"/>
                <a:cs typeface="+mj-lt"/>
              </a:rPr>
              <a:t>s</a:t>
            </a:r>
            <a:br>
              <a:rPr lang="en-US" sz="4800" b="1">
                <a:latin typeface="DM Sans"/>
                <a:ea typeface="+mj-lt"/>
                <a:cs typeface="+mj-lt"/>
              </a:rPr>
            </a:br>
            <a:br>
              <a:rPr lang="en-US" sz="3600">
                <a:latin typeface="DM Sans"/>
                <a:ea typeface="+mj-lt"/>
                <a:cs typeface="+mj-lt"/>
              </a:rPr>
            </a:br>
            <a:endParaRPr lang="en-US" sz="3600" b="0">
              <a:latin typeface="DM Sans"/>
              <a:cs typeface="Calibri"/>
            </a:endParaRPr>
          </a:p>
        </p:txBody>
      </p:sp>
      <p:pic>
        <p:nvPicPr>
          <p:cNvPr id="2" name="Picture 1" descr="A person holding a baby&#10;&#10;Description automatically generated">
            <a:extLst>
              <a:ext uri="{FF2B5EF4-FFF2-40B4-BE49-F238E27FC236}">
                <a16:creationId xmlns:a16="http://schemas.microsoft.com/office/drawing/2014/main" id="{0D7C69D0-240C-8322-D521-66F461EE341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3571" y="1815347"/>
            <a:ext cx="4425350" cy="2896629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sp>
        <p:nvSpPr>
          <p:cNvPr id="9" name="Subtitle 3">
            <a:extLst>
              <a:ext uri="{FF2B5EF4-FFF2-40B4-BE49-F238E27FC236}">
                <a16:creationId xmlns:a16="http://schemas.microsoft.com/office/drawing/2014/main" id="{7F20A429-9947-F447-2DF2-A5C17B5C6EC1}"/>
              </a:ext>
            </a:extLst>
          </p:cNvPr>
          <p:cNvSpPr>
            <a:spLocks noGrp="1"/>
          </p:cNvSpPr>
          <p:nvPr/>
        </p:nvSpPr>
        <p:spPr>
          <a:xfrm>
            <a:off x="1574463" y="4514450"/>
            <a:ext cx="5426907" cy="98656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>
                <a:latin typeface="DM Sans"/>
                <a:ea typeface="+mn-lt"/>
                <a:cs typeface="+mn-lt"/>
              </a:rPr>
              <a:t>July 15th, 2024 2:00 </a:t>
            </a:r>
            <a:r>
              <a:rPr lang="en-US">
                <a:latin typeface="Bierstadt Display"/>
                <a:ea typeface="+mn-lt"/>
                <a:cs typeface="+mn-lt"/>
              </a:rPr>
              <a:t>PM</a:t>
            </a:r>
            <a:r>
              <a:rPr lang="en-US">
                <a:latin typeface="DM Sans"/>
                <a:ea typeface="+mn-lt"/>
                <a:cs typeface="+mn-lt"/>
              </a:rPr>
              <a:t> </a:t>
            </a:r>
            <a:endParaRPr lang="en-US">
              <a:latin typeface="DM Sans"/>
            </a:endParaRPr>
          </a:p>
        </p:txBody>
      </p:sp>
      <p:grpSp>
        <p:nvGrpSpPr>
          <p:cNvPr id="7" name="Group 27">
            <a:extLst>
              <a:ext uri="{FF2B5EF4-FFF2-40B4-BE49-F238E27FC236}">
                <a16:creationId xmlns:a16="http://schemas.microsoft.com/office/drawing/2014/main" id="{63770316-A22E-98DA-7612-617DBB68472E}"/>
              </a:ext>
            </a:extLst>
          </p:cNvPr>
          <p:cNvGrpSpPr/>
          <p:nvPr/>
        </p:nvGrpSpPr>
        <p:grpSpPr>
          <a:xfrm>
            <a:off x="-415216" y="-654827"/>
            <a:ext cx="1368800" cy="1368800"/>
            <a:chOff x="0" y="0"/>
            <a:chExt cx="812800" cy="812800"/>
          </a:xfrm>
        </p:grpSpPr>
        <p:sp>
          <p:nvSpPr>
            <p:cNvPr id="5" name="Freeform 28">
              <a:extLst>
                <a:ext uri="{FF2B5EF4-FFF2-40B4-BE49-F238E27FC236}">
                  <a16:creationId xmlns:a16="http://schemas.microsoft.com/office/drawing/2014/main" id="{8E694DE2-D1B5-A619-19A6-0A53A2DE2074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000000">
                <a:alpha val="0"/>
              </a:srgbClr>
            </a:solidFill>
            <a:ln w="38100" cap="sq">
              <a:solidFill>
                <a:srgbClr val="ECF0F3"/>
              </a:solidFill>
              <a:prstDash val="solid"/>
              <a:miter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6" name="TextBox 29">
              <a:extLst>
                <a:ext uri="{FF2B5EF4-FFF2-40B4-BE49-F238E27FC236}">
                  <a16:creationId xmlns:a16="http://schemas.microsoft.com/office/drawing/2014/main" id="{FE263125-2206-7D72-1BC9-C4D15DED1BBE}"/>
                </a:ext>
              </a:extLst>
            </p:cNvPr>
            <p:cNvSpPr txBox="1"/>
            <p:nvPr/>
          </p:nvSpPr>
          <p:spPr>
            <a:xfrm>
              <a:off x="76200" y="28575"/>
              <a:ext cx="660400" cy="708025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599"/>
                </a:lnSpc>
              </a:pPr>
              <a:endParaRPr sz="800"/>
            </a:p>
          </p:txBody>
        </p:sp>
      </p:grpSp>
    </p:spTree>
    <p:extLst>
      <p:ext uri="{BB962C8B-B14F-4D97-AF65-F5344CB8AC3E}">
        <p14:creationId xmlns:p14="http://schemas.microsoft.com/office/powerpoint/2010/main" val="31279213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aph of a number of languages&#10;&#10;Description automatically generated">
            <a:extLst>
              <a:ext uri="{FF2B5EF4-FFF2-40B4-BE49-F238E27FC236}">
                <a16:creationId xmlns:a16="http://schemas.microsoft.com/office/drawing/2014/main" id="{3DA27630-B634-BD5A-F8E2-F81F663D4D4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13A79429-8891-2D3E-FDDD-BF3FBEE56BF8}"/>
              </a:ext>
            </a:extLst>
          </p:cNvPr>
          <p:cNvSpPr txBox="1"/>
          <p:nvPr/>
        </p:nvSpPr>
        <p:spPr>
          <a:xfrm>
            <a:off x="9532405" y="3572633"/>
            <a:ext cx="2069943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>
              <a:lnSpc>
                <a:spcPts val="2400"/>
              </a:lnSpc>
            </a:pPr>
            <a:r>
              <a:rPr lang="en-US" b="1" dirty="0">
                <a:solidFill>
                  <a:srgbClr val="813158"/>
                </a:solidFill>
                <a:latin typeface="Aptos"/>
              </a:rPr>
              <a:t>Reminder: Continue to submit your monthly data!</a:t>
            </a:r>
          </a:p>
        </p:txBody>
      </p:sp>
    </p:spTree>
    <p:extLst>
      <p:ext uri="{BB962C8B-B14F-4D97-AF65-F5344CB8AC3E}">
        <p14:creationId xmlns:p14="http://schemas.microsoft.com/office/powerpoint/2010/main" val="33852799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C56E72D-BA1F-FD28-C6D8-89787579B28E}"/>
              </a:ext>
            </a:extLst>
          </p:cNvPr>
          <p:cNvSpPr txBox="1"/>
          <p:nvPr/>
        </p:nvSpPr>
        <p:spPr>
          <a:xfrm>
            <a:off x="468521" y="312417"/>
            <a:ext cx="4215712" cy="58477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3200"/>
              <a:t>Interpreters and ESSI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E51CD9B-257C-603D-7DD5-E602F285978C}"/>
              </a:ext>
            </a:extLst>
          </p:cNvPr>
          <p:cNvSpPr txBox="1"/>
          <p:nvPr/>
        </p:nvSpPr>
        <p:spPr>
          <a:xfrm>
            <a:off x="468521" y="1249845"/>
            <a:ext cx="11185858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342900" indent="-342900">
              <a:buFont typeface="Arial"/>
              <a:buChar char="•"/>
            </a:pPr>
            <a:r>
              <a:rPr lang="en-US" sz="2400"/>
              <a:t>Language barriers are known to affect the care of patients </a:t>
            </a:r>
            <a:endParaRPr lang="en-US"/>
          </a:p>
          <a:p>
            <a:pPr marL="800100" lvl="1" indent="-342900">
              <a:buFont typeface="Courier New"/>
              <a:buChar char="o"/>
            </a:pPr>
            <a:r>
              <a:rPr lang="en-US" sz="2000"/>
              <a:t>In the NICU, a space where frequent communication is critical, parents with a language preference other than English report less understanding of their infant's diagnoses (</a:t>
            </a:r>
            <a:r>
              <a:rPr lang="en-US" sz="2000">
                <a:hlinkClick r:id="rId4"/>
              </a:rPr>
              <a:t>Feister</a:t>
            </a:r>
            <a:r>
              <a:rPr lang="en-US" sz="2000"/>
              <a:t>, 2024)</a:t>
            </a:r>
          </a:p>
          <a:p>
            <a:pPr marL="800100" lvl="1" indent="-342900">
              <a:buFont typeface="Courier New"/>
              <a:buChar char="o"/>
            </a:pPr>
            <a:endParaRPr lang="en-US" sz="2000"/>
          </a:p>
        </p:txBody>
      </p:sp>
      <p:pic>
        <p:nvPicPr>
          <p:cNvPr id="4" name="Picture 3" descr="A close-up of a white background&#10;&#10;Description automatically generated">
            <a:extLst>
              <a:ext uri="{FF2B5EF4-FFF2-40B4-BE49-F238E27FC236}">
                <a16:creationId xmlns:a16="http://schemas.microsoft.com/office/drawing/2014/main" id="{58CB9D86-8981-3266-5EB6-36EE96AC5C03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7143"/>
          <a:stretch/>
        </p:blipFill>
        <p:spPr>
          <a:xfrm>
            <a:off x="4226706" y="3836060"/>
            <a:ext cx="7084541" cy="1154871"/>
          </a:xfrm>
          <a:prstGeom prst="rect">
            <a:avLst/>
          </a:prstGeo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D6D7623-9556-90B9-A325-45CB56896C20}"/>
              </a:ext>
            </a:extLst>
          </p:cNvPr>
          <p:cNvSpPr txBox="1"/>
          <p:nvPr/>
        </p:nvSpPr>
        <p:spPr>
          <a:xfrm>
            <a:off x="4733718" y="3193357"/>
            <a:ext cx="6060009" cy="461665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2400"/>
              <a:t>2 out of 3 components in the ESSI Bundle: </a:t>
            </a:r>
          </a:p>
        </p:txBody>
      </p:sp>
      <p:pic>
        <p:nvPicPr>
          <p:cNvPr id="6" name="Picture 5" descr="A blue and white logo&#10;&#10;Description automatically generated">
            <a:extLst>
              <a:ext uri="{FF2B5EF4-FFF2-40B4-BE49-F238E27FC236}">
                <a16:creationId xmlns:a16="http://schemas.microsoft.com/office/drawing/2014/main" id="{CF23AA04-2CC3-4F2B-96EB-76246C6D5BB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87" y="3835745"/>
            <a:ext cx="3559589" cy="3018597"/>
          </a:xfrm>
          <a:prstGeom prst="rect">
            <a:avLst/>
          </a:prstGeom>
          <a:ln>
            <a:solidFill>
              <a:schemeClr val="bg1"/>
            </a:solidFill>
          </a:ln>
        </p:spPr>
      </p:pic>
    </p:spTree>
    <p:extLst>
      <p:ext uri="{BB962C8B-B14F-4D97-AF65-F5344CB8AC3E}">
        <p14:creationId xmlns:p14="http://schemas.microsoft.com/office/powerpoint/2010/main" val="229677532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1585" y="5843"/>
            <a:ext cx="9365380" cy="791285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Lato Medium"/>
              </a:rPr>
              <a:t>POLL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39461" y="969389"/>
            <a:ext cx="9365380" cy="377590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dirty="0">
                <a:latin typeface="Aptos"/>
                <a:ea typeface="Lato"/>
                <a:cs typeface="Lato"/>
              </a:rPr>
              <a:t>How do you use interpreters?</a:t>
            </a:r>
          </a:p>
          <a:p>
            <a:pPr marL="342900" indent="-342900" algn="l">
              <a:buClr>
                <a:srgbClr val="F5668F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In person</a:t>
            </a:r>
          </a:p>
          <a:p>
            <a:pPr marL="342900" indent="-342900" algn="l">
              <a:buClr>
                <a:srgbClr val="F5668F"/>
              </a:buClr>
              <a:buFont typeface="Arial" panose="020B0604020202020204" pitchFamily="34" charset="0"/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Phone Calls</a:t>
            </a:r>
          </a:p>
          <a:p>
            <a:pPr marL="342900" indent="-342900"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Video calls</a:t>
            </a:r>
          </a:p>
          <a:p>
            <a:r>
              <a:rPr lang="en-US" dirty="0">
                <a:latin typeface="Aptos"/>
                <a:ea typeface="Lato"/>
                <a:cs typeface="Lato"/>
              </a:rPr>
              <a:t>Do you still have in-person interpreters available?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Y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>
                <a:latin typeface="Aptos"/>
                <a:ea typeface="Lato"/>
                <a:cs typeface="Lato"/>
              </a:rPr>
              <a:t>No</a:t>
            </a:r>
          </a:p>
        </p:txBody>
      </p:sp>
    </p:spTree>
    <p:extLst>
      <p:ext uri="{BB962C8B-B14F-4D97-AF65-F5344CB8AC3E}">
        <p14:creationId xmlns:p14="http://schemas.microsoft.com/office/powerpoint/2010/main" val="36221421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6383610" y="943161"/>
            <a:ext cx="5046390" cy="4618118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200" dirty="0">
                <a:latin typeface="Aptos"/>
                <a:ea typeface="Lato"/>
                <a:cs typeface="Lato"/>
              </a:rPr>
              <a:t>Which units use interpreters on day of discharge?  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dirty="0">
                <a:latin typeface="Aptos"/>
                <a:ea typeface="Lato"/>
                <a:cs typeface="Arial"/>
              </a:rPr>
              <a:t>LD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dirty="0">
                <a:latin typeface="Aptos"/>
                <a:ea typeface="Lato"/>
                <a:cs typeface="Arial"/>
              </a:rPr>
              <a:t>NICU 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dirty="0">
                <a:latin typeface="Aptos"/>
                <a:ea typeface="Lato"/>
                <a:cs typeface="Arial"/>
              </a:rPr>
              <a:t>PP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dirty="0">
                <a:latin typeface="Aptos"/>
                <a:ea typeface="Lato"/>
                <a:cs typeface="Arial"/>
              </a:rPr>
              <a:t>SCN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 dirty="0">
                <a:latin typeface="Aptos"/>
                <a:ea typeface="Lato"/>
                <a:cs typeface="Arial"/>
              </a:rPr>
              <a:t>Other</a:t>
            </a:r>
            <a:endParaRPr lang="en-US" dirty="0">
              <a:latin typeface="Aptos"/>
            </a:endParaRPr>
          </a:p>
          <a:p>
            <a:endParaRPr lang="en-US" sz="2200" dirty="0">
              <a:latin typeface="Aptos"/>
              <a:ea typeface="Lato"/>
              <a:cs typeface="Lato"/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365E1293-3A5B-1CD5-1372-C814ED6C46CF}"/>
              </a:ext>
            </a:extLst>
          </p:cNvPr>
          <p:cNvSpPr txBox="1">
            <a:spLocks/>
          </p:cNvSpPr>
          <p:nvPr/>
        </p:nvSpPr>
        <p:spPr>
          <a:xfrm>
            <a:off x="409501" y="-719"/>
            <a:ext cx="9365380" cy="79128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>
                <a:latin typeface="Aptos"/>
                <a:ea typeface="Lato Medium"/>
                <a:cs typeface="Lato Medium"/>
              </a:rPr>
              <a:t>POLL</a:t>
            </a:r>
          </a:p>
        </p:txBody>
      </p:sp>
      <p:sp>
        <p:nvSpPr>
          <p:cNvPr id="2" name="Subtitle 3">
            <a:extLst>
              <a:ext uri="{FF2B5EF4-FFF2-40B4-BE49-F238E27FC236}">
                <a16:creationId xmlns:a16="http://schemas.microsoft.com/office/drawing/2014/main" id="{292EA07B-4369-6315-8273-D2F66ADFF327}"/>
              </a:ext>
            </a:extLst>
          </p:cNvPr>
          <p:cNvSpPr txBox="1">
            <a:spLocks/>
          </p:cNvSpPr>
          <p:nvPr/>
        </p:nvSpPr>
        <p:spPr>
          <a:xfrm>
            <a:off x="565516" y="1055220"/>
            <a:ext cx="4710213" cy="4618118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24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457223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1"/>
              </a:buClr>
              <a:buFont typeface="Arial" panose="020B0604020202020204" pitchFamily="34" charset="0"/>
              <a:buNone/>
              <a:defRPr sz="20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914446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8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371669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1828891" indent="0" algn="ctr" defTabSz="914400" rtl="0" eaLnBrk="1" latinLnBrk="0" hangingPunct="1">
              <a:lnSpc>
                <a:spcPct val="100000"/>
              </a:lnSpc>
              <a:spcBef>
                <a:spcPts val="500"/>
              </a:spcBef>
              <a:spcAft>
                <a:spcPts val="1000"/>
              </a:spcAft>
              <a:buClr>
                <a:schemeClr val="accent2"/>
              </a:buClr>
              <a:buFont typeface="Arial" panose="020B0604020202020204" pitchFamily="34" charset="0"/>
              <a:buNone/>
              <a:defRPr sz="1600" b="0" i="0" kern="1200">
                <a:solidFill>
                  <a:schemeClr val="tx1"/>
                </a:solidFill>
                <a:latin typeface="+mn-lt"/>
                <a:ea typeface="Lato" panose="020F0502020204030203" pitchFamily="34" charset="0"/>
                <a:cs typeface="Lato" panose="020F0502020204030203" pitchFamily="34" charset="0"/>
              </a:defRPr>
            </a:lvl5pPr>
            <a:lvl6pPr marL="2286114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337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56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783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200">
                <a:latin typeface="Aptos"/>
                <a:ea typeface="Lato"/>
                <a:cs typeface="Lato"/>
              </a:rPr>
              <a:t>Which units use interpreters on admission?  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latin typeface="Aptos"/>
                <a:ea typeface="Lato"/>
                <a:cs typeface="Arial"/>
              </a:rPr>
              <a:t>LD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latin typeface="Aptos"/>
                <a:ea typeface="Lato"/>
                <a:cs typeface="Arial"/>
              </a:rPr>
              <a:t>NICU 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latin typeface="Aptos"/>
                <a:ea typeface="Lato"/>
                <a:cs typeface="Arial"/>
              </a:rPr>
              <a:t>PP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latin typeface="Aptos"/>
                <a:ea typeface="Lato"/>
                <a:cs typeface="Arial"/>
              </a:rPr>
              <a:t>SCN</a:t>
            </a:r>
          </a:p>
          <a:p>
            <a:pPr marL="800100" lvl="1" indent="-342900" algn="l">
              <a:buClr>
                <a:srgbClr val="1C498B"/>
              </a:buClr>
              <a:buFont typeface="Courier New" panose="020B0604020202020204" pitchFamily="34" charset="0"/>
              <a:buChar char="o"/>
            </a:pPr>
            <a:r>
              <a:rPr lang="en-US">
                <a:latin typeface="Aptos"/>
                <a:ea typeface="Lato"/>
                <a:cs typeface="Arial"/>
              </a:rPr>
              <a:t>Other</a:t>
            </a:r>
            <a:endParaRPr lang="en-US">
              <a:latin typeface="Aptos"/>
            </a:endParaRPr>
          </a:p>
          <a:p>
            <a:endParaRPr lang="en-US" sz="2200" dirty="0">
              <a:latin typeface="Aptos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365914507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09501" y="790566"/>
            <a:ext cx="9365380" cy="3976414"/>
          </a:xfr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US" sz="2200" dirty="0">
                <a:latin typeface="Aptos"/>
                <a:ea typeface="Lato"/>
                <a:cs typeface="Lato"/>
              </a:rPr>
              <a:t>When do you use an interpreter for a patient/parent that requires one?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ptos"/>
                <a:ea typeface="Lato"/>
                <a:cs typeface="Lato"/>
              </a:rPr>
              <a:t>With every patient/parent interaction</a:t>
            </a:r>
            <a:endParaRPr lang="en-US" sz="2200" dirty="0">
              <a:latin typeface="Aptos"/>
            </a:endParaRPr>
          </a:p>
          <a:p>
            <a:pPr marL="457200" indent="-457200">
              <a:spcBef>
                <a:spcPts val="0"/>
              </a:spcBef>
              <a:buChar char="•"/>
            </a:pPr>
            <a:r>
              <a:rPr lang="en-US" sz="2200" dirty="0">
                <a:latin typeface="Aptos"/>
                <a:ea typeface="Lato"/>
                <a:cs typeface="Lato"/>
              </a:rPr>
              <a:t>During rounds</a:t>
            </a:r>
          </a:p>
          <a:p>
            <a:pPr marL="457200" indent="-457200">
              <a:spcBef>
                <a:spcPts val="0"/>
              </a:spcBef>
              <a:buChar char="•"/>
            </a:pPr>
            <a:r>
              <a:rPr lang="en-US" sz="2200" dirty="0">
                <a:latin typeface="Aptos"/>
                <a:ea typeface="Lato"/>
                <a:cs typeface="Lato"/>
              </a:rPr>
              <a:t>After rounding on the patient</a:t>
            </a:r>
          </a:p>
          <a:p>
            <a:pPr marL="457200" indent="-457200">
              <a:spcBef>
                <a:spcPts val="0"/>
              </a:spcBef>
              <a:buChar char="•"/>
            </a:pPr>
            <a:r>
              <a:rPr lang="en-US" sz="2200" dirty="0">
                <a:latin typeface="Aptos"/>
                <a:ea typeface="Lato"/>
                <a:cs typeface="Lato"/>
              </a:rPr>
              <a:t>After rounding on all patients</a:t>
            </a:r>
          </a:p>
          <a:p>
            <a:r>
              <a:rPr lang="en-US" sz="2200" dirty="0">
                <a:latin typeface="Aptos"/>
                <a:ea typeface="Lato"/>
                <a:cs typeface="Lato"/>
              </a:rPr>
              <a:t>Do you use interpreters specifically for safe sleep?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ptos"/>
                <a:ea typeface="Lato"/>
                <a:cs typeface="Lato"/>
              </a:rPr>
              <a:t>Yes, always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ptos"/>
                <a:ea typeface="Lato"/>
                <a:cs typeface="Lato"/>
              </a:rPr>
              <a:t>Yes, sometimes</a:t>
            </a:r>
          </a:p>
          <a:p>
            <a:pPr marL="342900" indent="-3429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sz="2200" dirty="0">
                <a:latin typeface="Aptos"/>
                <a:ea typeface="Lato"/>
                <a:cs typeface="Lato"/>
              </a:rPr>
              <a:t>No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47A3D97-58E2-DF42-4CDD-FBC20DD160FF}"/>
              </a:ext>
            </a:extLst>
          </p:cNvPr>
          <p:cNvSpPr txBox="1">
            <a:spLocks/>
          </p:cNvSpPr>
          <p:nvPr/>
        </p:nvSpPr>
        <p:spPr>
          <a:xfrm>
            <a:off x="409501" y="-719"/>
            <a:ext cx="9365380" cy="791285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b="1" i="0" kern="1200">
                <a:solidFill>
                  <a:schemeClr val="accent1"/>
                </a:solidFill>
                <a:latin typeface="+mj-lt"/>
                <a:ea typeface="Lato Medium" panose="020F0502020204030203" pitchFamily="34" charset="0"/>
                <a:cs typeface="Lato Medium" panose="020F0502020204030203" pitchFamily="34" charset="0"/>
              </a:defRPr>
            </a:lvl1pPr>
          </a:lstStyle>
          <a:p>
            <a:r>
              <a:rPr lang="en-US">
                <a:latin typeface="Aptos"/>
                <a:ea typeface="Lato Medium"/>
                <a:cs typeface="Lato Medium"/>
              </a:rPr>
              <a:t>POLL</a:t>
            </a:r>
          </a:p>
        </p:txBody>
      </p:sp>
    </p:spTree>
    <p:extLst>
      <p:ext uri="{BB962C8B-B14F-4D97-AF65-F5344CB8AC3E}">
        <p14:creationId xmlns:p14="http://schemas.microsoft.com/office/powerpoint/2010/main" val="67424724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31388A7B-A78D-10DA-4B73-4BE0B65A1AD6}"/>
              </a:ext>
            </a:extLst>
          </p:cNvPr>
          <p:cNvSpPr/>
          <p:nvPr/>
        </p:nvSpPr>
        <p:spPr>
          <a:xfrm>
            <a:off x="669" y="258661"/>
            <a:ext cx="1691779" cy="206928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B52E89F6-6AA7-1F47-C70D-63E6E3553EBF}"/>
              </a:ext>
            </a:extLst>
          </p:cNvPr>
          <p:cNvSpPr/>
          <p:nvPr/>
        </p:nvSpPr>
        <p:spPr>
          <a:xfrm>
            <a:off x="10263202" y="4551026"/>
            <a:ext cx="1971412" cy="23069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179DF13-3AE0-DF6C-3CBD-749A37F01DC5}"/>
              </a:ext>
            </a:extLst>
          </p:cNvPr>
          <p:cNvSpPr/>
          <p:nvPr/>
        </p:nvSpPr>
        <p:spPr>
          <a:xfrm>
            <a:off x="10521862" y="-20973"/>
            <a:ext cx="1691779" cy="183858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2054E45-19EB-8993-0062-264ABDCE2CE7}"/>
              </a:ext>
            </a:extLst>
          </p:cNvPr>
          <p:cNvSpPr txBox="1"/>
          <p:nvPr/>
        </p:nvSpPr>
        <p:spPr>
          <a:xfrm flipH="1">
            <a:off x="686059" y="1082045"/>
            <a:ext cx="451242" cy="42969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023F4D-A436-678E-D848-F85D44527345}"/>
              </a:ext>
            </a:extLst>
          </p:cNvPr>
          <p:cNvSpPr txBox="1"/>
          <p:nvPr/>
        </p:nvSpPr>
        <p:spPr>
          <a:xfrm>
            <a:off x="1267497" y="1926624"/>
            <a:ext cx="10751889" cy="64633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Century Gothic"/>
                <a:cs typeface="Arial"/>
              </a:rPr>
              <a:t>Process in place to communicate language preferences to healthcare team and individuals providing care</a:t>
            </a:r>
            <a:endParaRPr lang="en-US" b="1">
              <a:latin typeface="Century Gothic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4E0892-A4B4-C250-5A2A-52F1596FB45B}"/>
              </a:ext>
            </a:extLst>
          </p:cNvPr>
          <p:cNvSpPr txBox="1"/>
          <p:nvPr/>
        </p:nvSpPr>
        <p:spPr>
          <a:xfrm>
            <a:off x="1275297" y="1081979"/>
            <a:ext cx="609600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Century Gothic"/>
                <a:cs typeface="Arial"/>
              </a:rPr>
              <a:t>Process in place to identify who needs an interpreter</a:t>
            </a:r>
            <a:endParaRPr lang="en-US" b="1">
              <a:latin typeface="Century Gothic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F4300FF-5AB4-F059-313C-A8E7B33B69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4018" y="76046"/>
            <a:ext cx="11970770" cy="1218003"/>
          </a:xfrm>
        </p:spPr>
        <p:txBody>
          <a:bodyPr/>
          <a:lstStyle/>
          <a:p>
            <a:r>
              <a:rPr lang="en-US" sz="2400">
                <a:solidFill>
                  <a:srgbClr val="00B050"/>
                </a:solidFill>
                <a:latin typeface="Century Gothic"/>
              </a:rPr>
              <a:t>Getting to Green:</a:t>
            </a:r>
            <a:r>
              <a:rPr lang="en-US" sz="2400">
                <a:latin typeface="Century Gothic"/>
              </a:rPr>
              <a:t> </a:t>
            </a:r>
            <a:r>
              <a:rPr lang="en-US" sz="2400" b="0">
                <a:solidFill>
                  <a:srgbClr val="000000"/>
                </a:solidFill>
                <a:latin typeface="Century Gothic"/>
              </a:rPr>
              <a:t>Hospital has a standardized process to use qualified language interpreters in parents/caregivers' preferred language.</a:t>
            </a:r>
            <a:endParaRPr lang="en-US" sz="2400" b="0">
              <a:latin typeface="Century Gothic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6F95D63-D08A-58AA-3F8D-8B62BCD4005C}"/>
              </a:ext>
            </a:extLst>
          </p:cNvPr>
          <p:cNvSpPr txBox="1"/>
          <p:nvPr/>
        </p:nvSpPr>
        <p:spPr>
          <a:xfrm>
            <a:off x="1244464" y="4519569"/>
            <a:ext cx="10772860" cy="369332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>
                <a:latin typeface="Century Gothic"/>
                <a:cs typeface="Arial"/>
              </a:rPr>
              <a:t>Identification of key discharge education to be provided in preferred language</a:t>
            </a:r>
          </a:p>
        </p:txBody>
      </p:sp>
      <p:sp>
        <p:nvSpPr>
          <p:cNvPr id="23" name="Title 2">
            <a:extLst>
              <a:ext uri="{FF2B5EF4-FFF2-40B4-BE49-F238E27FC236}">
                <a16:creationId xmlns:a16="http://schemas.microsoft.com/office/drawing/2014/main" id="{5998E50B-351B-445C-899A-98DE4DA996B1}"/>
              </a:ext>
            </a:extLst>
          </p:cNvPr>
          <p:cNvSpPr txBox="1">
            <a:spLocks/>
          </p:cNvSpPr>
          <p:nvPr/>
        </p:nvSpPr>
        <p:spPr>
          <a:xfrm>
            <a:off x="1140490" y="5403564"/>
            <a:ext cx="10272000" cy="124596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500"/>
              <a:buFont typeface="Barlow"/>
              <a:buNone/>
              <a:defRPr sz="3500" b="1" i="0" u="none" strike="noStrike" cap="none">
                <a:solidFill>
                  <a:schemeClr val="dk1"/>
                </a:solidFill>
                <a:latin typeface="Barlow"/>
                <a:ea typeface="Barlow"/>
                <a:cs typeface="Barlow"/>
                <a:sym typeface="Barlow"/>
              </a:defRPr>
            </a:lvl9pPr>
          </a:lstStyle>
          <a:p>
            <a:r>
              <a:rPr lang="en-US" sz="2200" kern="0">
                <a:solidFill>
                  <a:srgbClr val="00B050"/>
                </a:solidFill>
                <a:latin typeface="Century Gothic"/>
              </a:rPr>
              <a:t>Outcome: </a:t>
            </a:r>
            <a:r>
              <a:rPr lang="en-US" sz="2200" kern="0">
                <a:solidFill>
                  <a:schemeClr val="tx1"/>
                </a:solidFill>
                <a:latin typeface="Century Gothic"/>
              </a:rPr>
              <a:t>To provide comprehensive, respectful safe sleep education in the parent's preferred language. 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0C892B7-AB1D-2B2C-43B9-F5A342221162}"/>
              </a:ext>
            </a:extLst>
          </p:cNvPr>
          <p:cNvSpPr txBox="1"/>
          <p:nvPr/>
        </p:nvSpPr>
        <p:spPr>
          <a:xfrm flipH="1">
            <a:off x="700040" y="2016019"/>
            <a:ext cx="451242" cy="42969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E022CDF-64A4-F815-2DF9-1A4F6AC0F013}"/>
              </a:ext>
            </a:extLst>
          </p:cNvPr>
          <p:cNvSpPr txBox="1"/>
          <p:nvPr/>
        </p:nvSpPr>
        <p:spPr>
          <a:xfrm flipH="1">
            <a:off x="700038" y="3253174"/>
            <a:ext cx="451242" cy="42969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677675AF-EA19-2734-FE4C-DBF8D5A0752C}"/>
              </a:ext>
            </a:extLst>
          </p:cNvPr>
          <p:cNvSpPr txBox="1"/>
          <p:nvPr/>
        </p:nvSpPr>
        <p:spPr>
          <a:xfrm>
            <a:off x="1243434" y="3252598"/>
            <a:ext cx="10786842" cy="923330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b="1" dirty="0">
                <a:latin typeface="Century Gothic"/>
                <a:ea typeface="+mn-lt"/>
                <a:cs typeface="+mn-lt"/>
              </a:rPr>
              <a:t>Process in place to ensure family updates in preferred language in a consistent and timely manner</a:t>
            </a:r>
            <a:endParaRPr lang="en-US" dirty="0">
              <a:latin typeface="Century Gothic"/>
              <a:ea typeface="+mn-lt"/>
              <a:cs typeface="+mn-lt"/>
            </a:endParaRPr>
          </a:p>
          <a:p>
            <a:endParaRPr lang="en-US" b="1" dirty="0">
              <a:latin typeface="Century Gothic"/>
              <a:cs typeface="Arial"/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030BF537-30BC-CAC2-CFB4-C7C69F6D119A}"/>
              </a:ext>
            </a:extLst>
          </p:cNvPr>
          <p:cNvSpPr txBox="1"/>
          <p:nvPr/>
        </p:nvSpPr>
        <p:spPr>
          <a:xfrm flipH="1">
            <a:off x="698787" y="4488134"/>
            <a:ext cx="451242" cy="429695"/>
          </a:xfrm>
          <a:prstGeom prst="rect">
            <a:avLst/>
          </a:prstGeom>
          <a:noFill/>
          <a:ln w="28575">
            <a:solidFill>
              <a:schemeClr val="bg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025C77-E503-70A6-F2EE-1E9F2CD95026}"/>
              </a:ext>
            </a:extLst>
          </p:cNvPr>
          <p:cNvSpPr txBox="1"/>
          <p:nvPr/>
        </p:nvSpPr>
        <p:spPr>
          <a:xfrm>
            <a:off x="1625527" y="3845426"/>
            <a:ext cx="5560762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 dirty="0">
                <a:latin typeface="Century Gothic"/>
                <a:cs typeface="Arial"/>
              </a:rPr>
              <a:t>Frequency? Time? Availability of interpreter services?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4F77F4B-E134-5725-9CFD-3CA852839105}"/>
              </a:ext>
            </a:extLst>
          </p:cNvPr>
          <p:cNvSpPr txBox="1"/>
          <p:nvPr/>
        </p:nvSpPr>
        <p:spPr>
          <a:xfrm>
            <a:off x="1529273" y="2578099"/>
            <a:ext cx="4935120" cy="338554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 dirty="0">
                <a:latin typeface="Century Gothic"/>
                <a:cs typeface="Arial"/>
              </a:rPr>
              <a:t>Whiteboard? Room signage? Visitor badge?</a:t>
            </a:r>
          </a:p>
        </p:txBody>
      </p:sp>
    </p:spTree>
    <p:extLst>
      <p:ext uri="{BB962C8B-B14F-4D97-AF65-F5344CB8AC3E}">
        <p14:creationId xmlns:p14="http://schemas.microsoft.com/office/powerpoint/2010/main" val="40898208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165241C1-6172-EC96-6A78-1B37A58FE3B9}"/>
              </a:ext>
            </a:extLst>
          </p:cNvPr>
          <p:cNvSpPr/>
          <p:nvPr/>
        </p:nvSpPr>
        <p:spPr>
          <a:xfrm>
            <a:off x="1819" y="-10536"/>
            <a:ext cx="1931861" cy="3048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7A7BE9C-DF5E-9349-D521-595D249013D9}"/>
              </a:ext>
            </a:extLst>
          </p:cNvPr>
          <p:cNvSpPr/>
          <p:nvPr/>
        </p:nvSpPr>
        <p:spPr>
          <a:xfrm>
            <a:off x="10271342" y="-10535"/>
            <a:ext cx="1931861" cy="1775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8" name="Google Shape;458;p29"/>
          <p:cNvSpPr txBox="1">
            <a:spLocks noGrp="1"/>
          </p:cNvSpPr>
          <p:nvPr>
            <p:ph type="title"/>
          </p:nvPr>
        </p:nvSpPr>
        <p:spPr>
          <a:xfrm>
            <a:off x="463653" y="137935"/>
            <a:ext cx="11268049" cy="1465841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3200" b="1" dirty="0">
                <a:latin typeface="Century Gothic"/>
              </a:rPr>
              <a:t>What might this look like? </a:t>
            </a:r>
            <a:br>
              <a:rPr lang="en" sz="3300" dirty="0">
                <a:latin typeface="Century Gothic"/>
              </a:rPr>
            </a:br>
            <a:r>
              <a:rPr lang="en" sz="2500" dirty="0">
                <a:latin typeface="Century Gothic"/>
              </a:rPr>
              <a:t>Examples taken from </a:t>
            </a:r>
            <a:r>
              <a:rPr lang="en" sz="2500" dirty="0">
                <a:latin typeface="Century Gothic"/>
                <a:hlinkClick r:id="rId3"/>
              </a:rPr>
              <a:t>California Perinatal Quality Care Collaborative's Resource Bundle</a:t>
            </a:r>
            <a:endParaRPr lang="en-US" sz="2500" dirty="0">
              <a:latin typeface="Century Gothic"/>
            </a:endParaRPr>
          </a:p>
        </p:txBody>
      </p:sp>
      <p:pic>
        <p:nvPicPr>
          <p:cNvPr id="2" name="Picture 1" descr="A white and orange rectangular object with blue text&#10;&#10;Description automatically generated">
            <a:extLst>
              <a:ext uri="{FF2B5EF4-FFF2-40B4-BE49-F238E27FC236}">
                <a16:creationId xmlns:a16="http://schemas.microsoft.com/office/drawing/2014/main" id="{C7A6DE3B-6963-A355-B58A-16CD89CBB48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422" y="1717426"/>
            <a:ext cx="5630900" cy="4925735"/>
          </a:xfrm>
          <a:prstGeom prst="rect">
            <a:avLst/>
          </a:prstGeom>
        </p:spPr>
      </p:pic>
      <p:pic>
        <p:nvPicPr>
          <p:cNvPr id="27" name="Picture 26" descr="A white text on a white background&#10;&#10;Description automatically generated">
            <a:extLst>
              <a:ext uri="{FF2B5EF4-FFF2-40B4-BE49-F238E27FC236}">
                <a16:creationId xmlns:a16="http://schemas.microsoft.com/office/drawing/2014/main" id="{A88FDA07-F8CA-9DFB-BD24-5F77ECB4D50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7677" y="4588302"/>
            <a:ext cx="8640660" cy="2268031"/>
          </a:xfrm>
          <a:prstGeom prst="rect">
            <a:avLst/>
          </a:prstGeom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80BB2CC4-DC60-A673-2616-AAC49C21C333}"/>
              </a:ext>
            </a:extLst>
          </p:cNvPr>
          <p:cNvSpPr/>
          <p:nvPr/>
        </p:nvSpPr>
        <p:spPr>
          <a:xfrm>
            <a:off x="10306295" y="4302804"/>
            <a:ext cx="1931861" cy="1775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cs typeface="Arial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C4ABA40C-96B2-9A63-462D-D0672D02F9C7}"/>
              </a:ext>
            </a:extLst>
          </p:cNvPr>
          <p:cNvSpPr/>
          <p:nvPr/>
        </p:nvSpPr>
        <p:spPr>
          <a:xfrm>
            <a:off x="10257360" y="-17526"/>
            <a:ext cx="1931861" cy="1775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>
              <a:cs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C38AB9F-12CE-86F3-7988-B9C4BF8F999E}"/>
              </a:ext>
            </a:extLst>
          </p:cNvPr>
          <p:cNvSpPr/>
          <p:nvPr/>
        </p:nvSpPr>
        <p:spPr>
          <a:xfrm>
            <a:off x="-9225" y="-33332"/>
            <a:ext cx="1931861" cy="17759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8C2421F-E027-2429-736C-E8DB45FA87DF}"/>
              </a:ext>
            </a:extLst>
          </p:cNvPr>
          <p:cNvSpPr/>
          <p:nvPr/>
        </p:nvSpPr>
        <p:spPr>
          <a:xfrm>
            <a:off x="3615" y="5295502"/>
            <a:ext cx="4895970" cy="156623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 descr="A qr code and a heart&#10;&#10;Description automatically generated">
            <a:extLst>
              <a:ext uri="{FF2B5EF4-FFF2-40B4-BE49-F238E27FC236}">
                <a16:creationId xmlns:a16="http://schemas.microsoft.com/office/drawing/2014/main" id="{A5F6E4D8-B565-8852-DF8D-F4BA637B74F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28" y="1699895"/>
            <a:ext cx="5079842" cy="5029001"/>
          </a:xfrm>
          <a:prstGeom prst="rect">
            <a:avLst/>
          </a:prstGeom>
        </p:spPr>
      </p:pic>
      <p:pic>
        <p:nvPicPr>
          <p:cNvPr id="3" name="Picture 2" descr="A group of cards with text and images&#10;&#10;Description automatically generated">
            <a:extLst>
              <a:ext uri="{FF2B5EF4-FFF2-40B4-BE49-F238E27FC236}">
                <a16:creationId xmlns:a16="http://schemas.microsoft.com/office/drawing/2014/main" id="{976B78DA-FEED-67BA-574A-7DE45A4E108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32393" y="2555880"/>
            <a:ext cx="6359408" cy="4313056"/>
          </a:xfrm>
          <a:prstGeom prst="rect">
            <a:avLst/>
          </a:prstGeom>
        </p:spPr>
      </p:pic>
      <p:sp>
        <p:nvSpPr>
          <p:cNvPr id="493" name="Google Shape;493;p33"/>
          <p:cNvSpPr txBox="1">
            <a:spLocks noGrp="1"/>
          </p:cNvSpPr>
          <p:nvPr>
            <p:ph type="title"/>
          </p:nvPr>
        </p:nvSpPr>
        <p:spPr>
          <a:xfrm>
            <a:off x="-117028" y="1292451"/>
            <a:ext cx="6329173" cy="819527"/>
          </a:xfrm>
          <a:prstGeom prst="rect">
            <a:avLst/>
          </a:prstGeom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algn="ctr"/>
            <a:r>
              <a:rPr lang="en" sz="1600" b="1" dirty="0">
                <a:solidFill>
                  <a:srgbClr val="008890"/>
                </a:solidFill>
                <a:latin typeface="Century Gothic"/>
              </a:rPr>
              <a:t>Signage for Infant’s Crib/Room Indicating NELP Family Status</a:t>
            </a:r>
            <a:endParaRPr lang="en-US" sz="1600" b="1" dirty="0">
              <a:latin typeface="Century Gothic"/>
            </a:endParaRPr>
          </a:p>
          <a:p>
            <a:pPr marL="0" lvl="0" indent="0" algn="l">
              <a:spcBef>
                <a:spcPts val="0"/>
              </a:spcBef>
              <a:spcAft>
                <a:spcPts val="0"/>
              </a:spcAft>
              <a:buNone/>
            </a:pPr>
            <a:endParaRPr lang="en" sz="2000" b="1">
              <a:latin typeface="Century Gothic"/>
            </a:endParaRPr>
          </a:p>
        </p:txBody>
      </p:sp>
      <p:sp>
        <p:nvSpPr>
          <p:cNvPr id="5" name="Google Shape;493;p33">
            <a:extLst>
              <a:ext uri="{FF2B5EF4-FFF2-40B4-BE49-F238E27FC236}">
                <a16:creationId xmlns:a16="http://schemas.microsoft.com/office/drawing/2014/main" id="{3DBB90A5-26B9-DB4D-83E4-74478C43B491}"/>
              </a:ext>
            </a:extLst>
          </p:cNvPr>
          <p:cNvSpPr txBox="1">
            <a:spLocks/>
          </p:cNvSpPr>
          <p:nvPr/>
        </p:nvSpPr>
        <p:spPr>
          <a:xfrm>
            <a:off x="7235921" y="1871291"/>
            <a:ext cx="3407010" cy="47697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900" tIns="121900" rIns="121900" bIns="12190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/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500"/>
              <a:buFont typeface="Arial"/>
              <a:buNone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" sz="1600" b="1" kern="0">
                <a:solidFill>
                  <a:srgbClr val="008890"/>
                </a:solidFill>
                <a:latin typeface="Century Gothic"/>
              </a:rPr>
              <a:t>Family Name Badges</a:t>
            </a:r>
          </a:p>
          <a:p>
            <a:endParaRPr lang="en" sz="1600" b="1" kern="0">
              <a:latin typeface="Century Gothic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DB6D237-0C07-E2DC-CC18-40331F85A638}"/>
              </a:ext>
            </a:extLst>
          </p:cNvPr>
          <p:cNvSpPr txBox="1"/>
          <p:nvPr/>
        </p:nvSpPr>
        <p:spPr>
          <a:xfrm>
            <a:off x="3787400" y="1174172"/>
            <a:ext cx="8090969" cy="492443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r"/>
            <a:r>
              <a:rPr lang="en-US" sz="2600" b="1" i="1" dirty="0">
                <a:latin typeface="Century Gothic"/>
                <a:cs typeface="Arial"/>
              </a:rPr>
              <a:t>Strategies include ...</a:t>
            </a:r>
            <a:r>
              <a:rPr lang="en-US" sz="2600" b="1" dirty="0">
                <a:latin typeface="Century Gothic"/>
                <a:cs typeface="Arial"/>
              </a:rPr>
              <a:t> </a:t>
            </a:r>
          </a:p>
        </p:txBody>
      </p:sp>
      <p:pic>
        <p:nvPicPr>
          <p:cNvPr id="2" name="Picture 1" descr="A close-up of a sign&#10;&#10;Description automatically generated">
            <a:extLst>
              <a:ext uri="{FF2B5EF4-FFF2-40B4-BE49-F238E27FC236}">
                <a16:creationId xmlns:a16="http://schemas.microsoft.com/office/drawing/2014/main" id="{B62C9E3B-D3AC-6DE6-7EA0-C56366AFBCDB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989" y="-5620"/>
            <a:ext cx="11017540" cy="1192249"/>
          </a:xfrm>
          <a:prstGeom prst="rect">
            <a:avLst/>
          </a:prstGeom>
          <a:ln>
            <a:noFill/>
          </a:ln>
        </p:spPr>
      </p:pic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>
            <a:extLst>
              <a:ext uri="{FF2B5EF4-FFF2-40B4-BE49-F238E27FC236}">
                <a16:creationId xmlns:a16="http://schemas.microsoft.com/office/drawing/2014/main" id="{64DD542C-552A-DE6D-243E-211C55800CD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36" y="-2312"/>
            <a:ext cx="12191998" cy="686762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412B0DCA-E5A9-1B88-8ED8-238EDA624CB0}"/>
              </a:ext>
            </a:extLst>
          </p:cNvPr>
          <p:cNvSpPr txBox="1"/>
          <p:nvPr/>
        </p:nvSpPr>
        <p:spPr>
          <a:xfrm>
            <a:off x="41753" y="20876"/>
            <a:ext cx="1649260" cy="6784931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793784-9A00-E082-9B5A-031E5E0F8D3B}"/>
              </a:ext>
            </a:extLst>
          </p:cNvPr>
          <p:cNvSpPr txBox="1"/>
          <p:nvPr/>
        </p:nvSpPr>
        <p:spPr>
          <a:xfrm>
            <a:off x="2085473" y="5823284"/>
            <a:ext cx="1925053" cy="553998"/>
          </a:xfrm>
          <a:prstGeom prst="rect">
            <a:avLst/>
          </a:prstGeom>
          <a:solidFill>
            <a:schemeClr val="accent6"/>
          </a:solidFill>
          <a:ln>
            <a:solidFill>
              <a:srgbClr val="C000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500" i="1" dirty="0">
                <a:latin typeface="Century Gothic"/>
                <a:cs typeface="Arial"/>
              </a:rPr>
              <a:t>More on this toolkit coming soon!</a:t>
            </a:r>
            <a:endParaRPr lang="en-US" sz="1500" i="1" dirty="0">
              <a:latin typeface="Century Gothic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9BF6A37-E225-9D36-8833-2EDBCC6315F3}"/>
              </a:ext>
            </a:extLst>
          </p:cNvPr>
          <p:cNvSpPr txBox="1"/>
          <p:nvPr/>
        </p:nvSpPr>
        <p:spPr>
          <a:xfrm>
            <a:off x="4621773" y="510159"/>
            <a:ext cx="3189302" cy="1194259"/>
          </a:xfrm>
          <a:prstGeom prst="rect">
            <a:avLst/>
          </a:prstGeom>
          <a:noFill/>
          <a:ln w="57150">
            <a:solidFill>
              <a:srgbClr val="FFFF0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E8B541B-38E3-78A6-A33C-020E623E17CC}"/>
              </a:ext>
            </a:extLst>
          </p:cNvPr>
          <p:cNvSpPr txBox="1"/>
          <p:nvPr/>
        </p:nvSpPr>
        <p:spPr>
          <a:xfrm>
            <a:off x="8335520" y="20874"/>
            <a:ext cx="3822966" cy="1691564"/>
          </a:xfrm>
          <a:prstGeom prst="rect">
            <a:avLst/>
          </a:prstGeom>
          <a:noFill/>
          <a:ln w="57150">
            <a:solidFill>
              <a:schemeClr val="tx2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l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665539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-up of a document&#10;&#10;Description automatically generated">
            <a:extLst>
              <a:ext uri="{FF2B5EF4-FFF2-40B4-BE49-F238E27FC236}">
                <a16:creationId xmlns:a16="http://schemas.microsoft.com/office/drawing/2014/main" id="{0F4135F4-17C0-855C-F970-23078AB9352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7895" y="-6864"/>
            <a:ext cx="12254914" cy="6872022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04516F3F-77BD-EC38-4199-BA2072CE0EC0}"/>
              </a:ext>
            </a:extLst>
          </p:cNvPr>
          <p:cNvSpPr txBox="1"/>
          <p:nvPr/>
        </p:nvSpPr>
        <p:spPr>
          <a:xfrm>
            <a:off x="5229036" y="618973"/>
            <a:ext cx="5436235" cy="400110"/>
          </a:xfrm>
          <a:prstGeom prst="rect">
            <a:avLst/>
          </a:prstGeom>
          <a:noFill/>
          <a:ln w="28575">
            <a:solidFill>
              <a:srgbClr val="7030A0"/>
            </a:solidFill>
          </a:ln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2000" b="1">
                <a:latin typeface="Century Gothic"/>
                <a:cs typeface="Arial"/>
              </a:rPr>
              <a:t>Strategies YOUR ESSI team can implement</a:t>
            </a:r>
          </a:p>
        </p:txBody>
      </p:sp>
      <p:sp>
        <p:nvSpPr>
          <p:cNvPr id="4" name="Arrow: Curved Right 3">
            <a:extLst>
              <a:ext uri="{FF2B5EF4-FFF2-40B4-BE49-F238E27FC236}">
                <a16:creationId xmlns:a16="http://schemas.microsoft.com/office/drawing/2014/main" id="{F5E096E7-32AC-1A73-7520-2CE5BE3E24D7}"/>
              </a:ext>
            </a:extLst>
          </p:cNvPr>
          <p:cNvSpPr/>
          <p:nvPr/>
        </p:nvSpPr>
        <p:spPr>
          <a:xfrm rot="-240000" flipH="1">
            <a:off x="10929493" y="833039"/>
            <a:ext cx="498763" cy="761999"/>
          </a:xfrm>
          <a:prstGeom prst="curvedRightArrow">
            <a:avLst/>
          </a:prstGeom>
          <a:solidFill>
            <a:srgbClr val="7030A0"/>
          </a:solidFill>
          <a:ln>
            <a:solidFill>
              <a:srgbClr val="7030A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568732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>
                <a:latin typeface="Aptos"/>
                <a:ea typeface="Lato Medium"/>
                <a:cs typeface="Lato Medium"/>
              </a:rPr>
              <a:t>ATTENDANCE POLL</a:t>
            </a:r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/>
        <p:txBody>
          <a:bodyPr vert="horz" lIns="91440" tIns="45720" rIns="91440" bIns="45720" rtlCol="0" anchor="t">
            <a:noAutofit/>
          </a:bodyPr>
          <a:lstStyle/>
          <a:p>
            <a:r>
              <a:rPr lang="en-US">
                <a:latin typeface="Aptos"/>
                <a:ea typeface="Lato"/>
                <a:cs typeface="Lato"/>
              </a:rPr>
              <a:t>Please fill out the poll so that we can track hospital team attendance at ESSI webinars.</a:t>
            </a:r>
          </a:p>
        </p:txBody>
      </p:sp>
    </p:spTree>
    <p:extLst>
      <p:ext uri="{BB962C8B-B14F-4D97-AF65-F5344CB8AC3E}">
        <p14:creationId xmlns:p14="http://schemas.microsoft.com/office/powerpoint/2010/main" val="2373268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 descr="A close-up of a document&#10;&#10;Description automatically generated">
            <a:extLst>
              <a:ext uri="{FF2B5EF4-FFF2-40B4-BE49-F238E27FC236}">
                <a16:creationId xmlns:a16="http://schemas.microsoft.com/office/drawing/2014/main" id="{0F4135F4-17C0-855C-F970-23078AB93525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19" y="846017"/>
            <a:ext cx="12201868" cy="1133852"/>
          </a:xfrm>
          <a:prstGeom prst="rect">
            <a:avLst/>
          </a:prstGeom>
        </p:spPr>
      </p:pic>
      <p:pic>
        <p:nvPicPr>
          <p:cNvPr id="2" name="Picture 1" descr="A screenshot of a white background&#10;&#10;Description automatically generated">
            <a:extLst>
              <a:ext uri="{FF2B5EF4-FFF2-40B4-BE49-F238E27FC236}">
                <a16:creationId xmlns:a16="http://schemas.microsoft.com/office/drawing/2014/main" id="{E9616D4A-77D4-243A-4D9B-F89064773789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204" y="2748373"/>
            <a:ext cx="4565008" cy="2091905"/>
          </a:xfrm>
          <a:prstGeom prst="rect">
            <a:avLst/>
          </a:prstGeom>
          <a:ln>
            <a:noFill/>
          </a:ln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3EB2305-F9F4-C575-AAAA-8D8F0266F4BB}"/>
              </a:ext>
            </a:extLst>
          </p:cNvPr>
          <p:cNvSpPr txBox="1"/>
          <p:nvPr/>
        </p:nvSpPr>
        <p:spPr>
          <a:xfrm>
            <a:off x="73221" y="2282540"/>
            <a:ext cx="5525546" cy="338554"/>
          </a:xfrm>
          <a:prstGeom prst="rect">
            <a:avLst/>
          </a:prstGeom>
          <a:solidFill>
            <a:schemeClr val="accent6"/>
          </a:solidFill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en-US" sz="1600" dirty="0">
                <a:latin typeface="Century Gothic"/>
                <a:cs typeface="Arial"/>
              </a:rPr>
              <a:t>June Webinar: Equitable and Inclusive Unit Policies</a:t>
            </a:r>
            <a:endParaRPr lang="en-US" sz="1600" dirty="0">
              <a:latin typeface="Century Gothic"/>
            </a:endParaRPr>
          </a:p>
        </p:txBody>
      </p:sp>
      <p:pic>
        <p:nvPicPr>
          <p:cNvPr id="10" name="Picture 9" descr="A white background with blue text&#10;&#10;Description automatically generated">
            <a:extLst>
              <a:ext uri="{FF2B5EF4-FFF2-40B4-BE49-F238E27FC236}">
                <a16:creationId xmlns:a16="http://schemas.microsoft.com/office/drawing/2014/main" id="{11C52A91-458C-7BE0-BB6F-D3D22BB672C5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4907" y="2282067"/>
            <a:ext cx="4062368" cy="44050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22380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white text on a white background&#10;&#10;Description automatically generated">
            <a:extLst>
              <a:ext uri="{FF2B5EF4-FFF2-40B4-BE49-F238E27FC236}">
                <a16:creationId xmlns:a16="http://schemas.microsoft.com/office/drawing/2014/main" id="{37A0E7A6-F571-DE56-6406-293F738769A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164" y="347421"/>
            <a:ext cx="12205981" cy="1713166"/>
          </a:xfrm>
          <a:prstGeom prst="rect">
            <a:avLst/>
          </a:prstGeom>
        </p:spPr>
      </p:pic>
      <p:pic>
        <p:nvPicPr>
          <p:cNvPr id="4" name="Picture 3" descr="A screen with a person on it&#10;&#10;Description automatically generated">
            <a:extLst>
              <a:ext uri="{FF2B5EF4-FFF2-40B4-BE49-F238E27FC236}">
                <a16:creationId xmlns:a16="http://schemas.microsoft.com/office/drawing/2014/main" id="{BDE9CA6B-836F-BFAB-A0F1-FF065E7B468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8761" y="2290303"/>
            <a:ext cx="3226875" cy="4324526"/>
          </a:xfrm>
          <a:prstGeom prst="rect">
            <a:avLst/>
          </a:prstGeom>
        </p:spPr>
      </p:pic>
      <p:pic>
        <p:nvPicPr>
          <p:cNvPr id="8" name="Picture 7" descr="A white text on a blue background&#10;&#10;Description automatically generated">
            <a:extLst>
              <a:ext uri="{FF2B5EF4-FFF2-40B4-BE49-F238E27FC236}">
                <a16:creationId xmlns:a16="http://schemas.microsoft.com/office/drawing/2014/main" id="{8833FE88-F2F1-6F63-FF0E-EC6AA6956023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48220" y="2092312"/>
            <a:ext cx="5704514" cy="3525152"/>
          </a:xfrm>
          <a:prstGeom prst="rect">
            <a:avLst/>
          </a:prstGeom>
        </p:spPr>
      </p:pic>
      <p:pic>
        <p:nvPicPr>
          <p:cNvPr id="9" name="Picture 8" descr="A black text on a white background&#10;&#10;Description automatically generated">
            <a:extLst>
              <a:ext uri="{FF2B5EF4-FFF2-40B4-BE49-F238E27FC236}">
                <a16:creationId xmlns:a16="http://schemas.microsoft.com/office/drawing/2014/main" id="{D824FDE4-3F1E-BFBA-F3E5-C8CC6ABB17B8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1753" y="5387181"/>
            <a:ext cx="5340991" cy="147047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4E834044-3D8C-41B9-9B8E-568FDB3E0D4F}"/>
              </a:ext>
            </a:extLst>
          </p:cNvPr>
          <p:cNvSpPr txBox="1"/>
          <p:nvPr/>
        </p:nvSpPr>
        <p:spPr>
          <a:xfrm>
            <a:off x="10205427" y="2290783"/>
            <a:ext cx="1988191" cy="1323439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r>
              <a:rPr lang="en-US" sz="1600" i="1" dirty="0">
                <a:latin typeface="Century Gothic"/>
                <a:cs typeface="Arial"/>
              </a:rPr>
              <a:t>More on Listening to Families and Respectful Care Breakfasts next month. </a:t>
            </a:r>
            <a:endParaRPr lang="en-US" sz="1600" i="1">
              <a:latin typeface="Century Gothic"/>
            </a:endParaRPr>
          </a:p>
        </p:txBody>
      </p:sp>
    </p:spTree>
    <p:extLst>
      <p:ext uri="{BB962C8B-B14F-4D97-AF65-F5344CB8AC3E}">
        <p14:creationId xmlns:p14="http://schemas.microsoft.com/office/powerpoint/2010/main" val="3034153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658709" y="1308390"/>
            <a:ext cx="10193962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Lato Medium"/>
              </a:rPr>
              <a:t>Upcoming Opportunities of Interest to ESSI Teams</a:t>
            </a:r>
            <a:endParaRPr lang="en-US">
              <a:latin typeface="Aptos"/>
            </a:endParaRPr>
          </a:p>
        </p:txBody>
      </p:sp>
    </p:spTree>
    <p:extLst>
      <p:ext uri="{BB962C8B-B14F-4D97-AF65-F5344CB8AC3E}">
        <p14:creationId xmlns:p14="http://schemas.microsoft.com/office/powerpoint/2010/main" val="309904556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white card with text and words&#10;&#10;Description automatically generated">
            <a:extLst>
              <a:ext uri="{FF2B5EF4-FFF2-40B4-BE49-F238E27FC236}">
                <a16:creationId xmlns:a16="http://schemas.microsoft.com/office/drawing/2014/main" id="{62A3C910-9958-C2CA-7BED-6F18ED3CCE8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1401"/>
            <a:ext cx="12203204" cy="68664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2964273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EBF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2"/>
          <p:cNvGrpSpPr/>
          <p:nvPr/>
        </p:nvGrpSpPr>
        <p:grpSpPr>
          <a:xfrm>
            <a:off x="15609" y="-19324"/>
            <a:ext cx="12178421" cy="3448324"/>
            <a:chOff x="0" y="0"/>
            <a:chExt cx="61498202" cy="18166193"/>
          </a:xfrm>
        </p:grpSpPr>
        <p:sp>
          <p:nvSpPr>
            <p:cNvPr id="3" name="Freeform 3"/>
            <p:cNvSpPr/>
            <p:nvPr/>
          </p:nvSpPr>
          <p:spPr>
            <a:xfrm>
              <a:off x="72390" y="72390"/>
              <a:ext cx="61353423" cy="18021413"/>
            </a:xfrm>
            <a:custGeom>
              <a:avLst/>
              <a:gdLst/>
              <a:ahLst/>
              <a:cxnLst/>
              <a:rect l="l" t="t" r="r" b="b"/>
              <a:pathLst>
                <a:path w="61353423" h="18021413">
                  <a:moveTo>
                    <a:pt x="0" y="0"/>
                  </a:moveTo>
                  <a:lnTo>
                    <a:pt x="61353423" y="0"/>
                  </a:lnTo>
                  <a:lnTo>
                    <a:pt x="61353423" y="18021413"/>
                  </a:lnTo>
                  <a:lnTo>
                    <a:pt x="0" y="1802141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  <p:sp>
          <p:nvSpPr>
            <p:cNvPr id="4" name="Freeform 4"/>
            <p:cNvSpPr/>
            <p:nvPr/>
          </p:nvSpPr>
          <p:spPr>
            <a:xfrm>
              <a:off x="0" y="0"/>
              <a:ext cx="61498200" cy="18166193"/>
            </a:xfrm>
            <a:custGeom>
              <a:avLst/>
              <a:gdLst/>
              <a:ahLst/>
              <a:cxnLst/>
              <a:rect l="l" t="t" r="r" b="b"/>
              <a:pathLst>
                <a:path w="61498200" h="18166193">
                  <a:moveTo>
                    <a:pt x="61353421" y="18021413"/>
                  </a:moveTo>
                  <a:lnTo>
                    <a:pt x="61498200" y="18021413"/>
                  </a:lnTo>
                  <a:lnTo>
                    <a:pt x="61498200" y="18166193"/>
                  </a:lnTo>
                  <a:lnTo>
                    <a:pt x="61353421" y="18166193"/>
                  </a:lnTo>
                  <a:lnTo>
                    <a:pt x="61353421" y="18021413"/>
                  </a:lnTo>
                  <a:close/>
                  <a:moveTo>
                    <a:pt x="0" y="144780"/>
                  </a:moveTo>
                  <a:lnTo>
                    <a:pt x="144780" y="144780"/>
                  </a:lnTo>
                  <a:lnTo>
                    <a:pt x="144780" y="18021413"/>
                  </a:lnTo>
                  <a:lnTo>
                    <a:pt x="0" y="18021413"/>
                  </a:lnTo>
                  <a:lnTo>
                    <a:pt x="0" y="144780"/>
                  </a:lnTo>
                  <a:close/>
                  <a:moveTo>
                    <a:pt x="0" y="18021413"/>
                  </a:moveTo>
                  <a:lnTo>
                    <a:pt x="144780" y="18021413"/>
                  </a:lnTo>
                  <a:lnTo>
                    <a:pt x="144780" y="18166193"/>
                  </a:lnTo>
                  <a:lnTo>
                    <a:pt x="0" y="18166193"/>
                  </a:lnTo>
                  <a:lnTo>
                    <a:pt x="0" y="18021413"/>
                  </a:lnTo>
                  <a:close/>
                  <a:moveTo>
                    <a:pt x="61353421" y="144780"/>
                  </a:moveTo>
                  <a:lnTo>
                    <a:pt x="61498200" y="144780"/>
                  </a:lnTo>
                  <a:lnTo>
                    <a:pt x="61498200" y="18021413"/>
                  </a:lnTo>
                  <a:lnTo>
                    <a:pt x="61353421" y="18021413"/>
                  </a:lnTo>
                  <a:lnTo>
                    <a:pt x="61353421" y="144780"/>
                  </a:lnTo>
                  <a:close/>
                  <a:moveTo>
                    <a:pt x="144780" y="18021413"/>
                  </a:moveTo>
                  <a:lnTo>
                    <a:pt x="61353421" y="18021413"/>
                  </a:lnTo>
                  <a:lnTo>
                    <a:pt x="61353421" y="18166193"/>
                  </a:lnTo>
                  <a:lnTo>
                    <a:pt x="144780" y="18166193"/>
                  </a:lnTo>
                  <a:lnTo>
                    <a:pt x="144780" y="18021413"/>
                  </a:lnTo>
                  <a:close/>
                  <a:moveTo>
                    <a:pt x="61353421" y="0"/>
                  </a:moveTo>
                  <a:lnTo>
                    <a:pt x="61498200" y="0"/>
                  </a:lnTo>
                  <a:lnTo>
                    <a:pt x="61498200" y="144780"/>
                  </a:lnTo>
                  <a:lnTo>
                    <a:pt x="61353421" y="144780"/>
                  </a:lnTo>
                  <a:lnTo>
                    <a:pt x="61353421" y="0"/>
                  </a:lnTo>
                  <a:close/>
                  <a:moveTo>
                    <a:pt x="0" y="0"/>
                  </a:moveTo>
                  <a:lnTo>
                    <a:pt x="144780" y="0"/>
                  </a:lnTo>
                  <a:lnTo>
                    <a:pt x="144780" y="144780"/>
                  </a:lnTo>
                  <a:lnTo>
                    <a:pt x="0" y="144780"/>
                  </a:lnTo>
                  <a:lnTo>
                    <a:pt x="0" y="0"/>
                  </a:lnTo>
                  <a:close/>
                  <a:moveTo>
                    <a:pt x="144780" y="0"/>
                  </a:moveTo>
                  <a:lnTo>
                    <a:pt x="61353421" y="0"/>
                  </a:lnTo>
                  <a:lnTo>
                    <a:pt x="61353421" y="144780"/>
                  </a:lnTo>
                  <a:lnTo>
                    <a:pt x="144780" y="144780"/>
                  </a:lnTo>
                  <a:lnTo>
                    <a:pt x="144780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/>
            <a:lstStyle>
              <a:defPPr>
                <a:defRPr lang="en-US"/>
              </a:defPPr>
              <a:lvl1pPr marL="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04770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0953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914309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21907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523848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182861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133387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438156" algn="l" defTabSz="609539" rtl="0" eaLnBrk="1" latinLnBrk="0" hangingPunct="1">
                <a:defRPr sz="1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US" sz="800"/>
            </a:p>
          </p:txBody>
        </p:sp>
      </p:grpSp>
      <p:sp>
        <p:nvSpPr>
          <p:cNvPr id="5" name="Freeform 5"/>
          <p:cNvSpPr/>
          <p:nvPr/>
        </p:nvSpPr>
        <p:spPr>
          <a:xfrm>
            <a:off x="8005932" y="3429000"/>
            <a:ext cx="2929524" cy="3451575"/>
          </a:xfrm>
          <a:custGeom>
            <a:avLst/>
            <a:gdLst/>
            <a:ahLst/>
            <a:cxnLst/>
            <a:rect l="l" t="t" r="r" b="b"/>
            <a:pathLst>
              <a:path w="4394286" h="5177362">
                <a:moveTo>
                  <a:pt x="0" y="0"/>
                </a:moveTo>
                <a:lnTo>
                  <a:pt x="4394286" y="0"/>
                </a:lnTo>
                <a:lnTo>
                  <a:pt x="4394286" y="5177362"/>
                </a:lnTo>
                <a:lnTo>
                  <a:pt x="0" y="5177362"/>
                </a:lnTo>
                <a:lnTo>
                  <a:pt x="0" y="0"/>
                </a:lnTo>
                <a:close/>
              </a:path>
            </a:pathLst>
          </a:cu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6" name="Freeform 6"/>
          <p:cNvSpPr/>
          <p:nvPr/>
        </p:nvSpPr>
        <p:spPr>
          <a:xfrm>
            <a:off x="0" y="0"/>
            <a:ext cx="6858000" cy="6858000"/>
          </a:xfrm>
          <a:custGeom>
            <a:avLst/>
            <a:gdLst/>
            <a:ahLst/>
            <a:cxnLst/>
            <a:rect l="l" t="t" r="r" b="b"/>
            <a:pathLst>
              <a:path w="10287000" h="10287000">
                <a:moveTo>
                  <a:pt x="0" y="0"/>
                </a:moveTo>
                <a:lnTo>
                  <a:pt x="10287000" y="0"/>
                </a:lnTo>
                <a:lnTo>
                  <a:pt x="10287000" y="10287000"/>
                </a:lnTo>
                <a:lnTo>
                  <a:pt x="0" y="102870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7" name="Freeform 7"/>
          <p:cNvSpPr/>
          <p:nvPr/>
        </p:nvSpPr>
        <p:spPr>
          <a:xfrm>
            <a:off x="7338048" y="876336"/>
            <a:ext cx="1335769" cy="1335769"/>
          </a:xfrm>
          <a:custGeom>
            <a:avLst/>
            <a:gdLst/>
            <a:ahLst/>
            <a:cxnLst/>
            <a:rect l="l" t="t" r="r" b="b"/>
            <a:pathLst>
              <a:path w="2003654" h="2003654">
                <a:moveTo>
                  <a:pt x="0" y="0"/>
                </a:moveTo>
                <a:lnTo>
                  <a:pt x="2003654" y="0"/>
                </a:lnTo>
                <a:lnTo>
                  <a:pt x="2003654" y="2003654"/>
                </a:lnTo>
                <a:lnTo>
                  <a:pt x="0" y="2003654"/>
                </a:lnTo>
                <a:lnTo>
                  <a:pt x="0" y="0"/>
                </a:lnTo>
                <a:close/>
              </a:path>
            </a:pathLst>
          </a:custGeom>
          <a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8" name="Freeform 8"/>
          <p:cNvSpPr/>
          <p:nvPr/>
        </p:nvSpPr>
        <p:spPr>
          <a:xfrm>
            <a:off x="10572657" y="2057400"/>
            <a:ext cx="1360615" cy="1217750"/>
          </a:xfrm>
          <a:custGeom>
            <a:avLst/>
            <a:gdLst/>
            <a:ahLst/>
            <a:cxnLst/>
            <a:rect l="l" t="t" r="r" b="b"/>
            <a:pathLst>
              <a:path w="2040922" h="1826625">
                <a:moveTo>
                  <a:pt x="0" y="0"/>
                </a:moveTo>
                <a:lnTo>
                  <a:pt x="2040922" y="0"/>
                </a:lnTo>
                <a:lnTo>
                  <a:pt x="2040922" y="1826625"/>
                </a:lnTo>
                <a:lnTo>
                  <a:pt x="0" y="1826625"/>
                </a:lnTo>
                <a:lnTo>
                  <a:pt x="0" y="0"/>
                </a:lnTo>
                <a:close/>
              </a:path>
            </a:pathLst>
          </a:custGeo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9" name="Freeform 9"/>
          <p:cNvSpPr/>
          <p:nvPr/>
        </p:nvSpPr>
        <p:spPr>
          <a:xfrm>
            <a:off x="8856152" y="1544221"/>
            <a:ext cx="1457776" cy="1047777"/>
          </a:xfrm>
          <a:custGeom>
            <a:avLst/>
            <a:gdLst/>
            <a:ahLst/>
            <a:cxnLst/>
            <a:rect l="l" t="t" r="r" b="b"/>
            <a:pathLst>
              <a:path w="2186664" h="1571665">
                <a:moveTo>
                  <a:pt x="0" y="0"/>
                </a:moveTo>
                <a:lnTo>
                  <a:pt x="2186664" y="0"/>
                </a:lnTo>
                <a:lnTo>
                  <a:pt x="2186664" y="1571665"/>
                </a:lnTo>
                <a:lnTo>
                  <a:pt x="0" y="1571665"/>
                </a:lnTo>
                <a:lnTo>
                  <a:pt x="0" y="0"/>
                </a:lnTo>
                <a:close/>
              </a:path>
            </a:pathLst>
          </a:custGeom>
          <a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a:blipFill>
        </p:spPr>
        <p:txBody>
          <a:bodyPr/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sz="800"/>
          </a:p>
        </p:txBody>
      </p:sp>
      <p:sp>
        <p:nvSpPr>
          <p:cNvPr id="10" name="TextBox 10"/>
          <p:cNvSpPr txBox="1"/>
          <p:nvPr/>
        </p:nvSpPr>
        <p:spPr>
          <a:xfrm>
            <a:off x="6298903" y="243705"/>
            <a:ext cx="6223832" cy="4420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632"/>
              </a:lnSpc>
            </a:pPr>
            <a:r>
              <a:rPr lang="en-US" sz="2594">
                <a:solidFill>
                  <a:srgbClr val="AECADF"/>
                </a:solidFill>
                <a:latin typeface="Canva Sans Bold"/>
              </a:rPr>
              <a:t>UPCOMING OPPORTUNITY</a:t>
            </a:r>
          </a:p>
        </p:txBody>
      </p:sp>
      <p:sp>
        <p:nvSpPr>
          <p:cNvPr id="11" name="TextBox 11"/>
          <p:cNvSpPr txBox="1"/>
          <p:nvPr/>
        </p:nvSpPr>
        <p:spPr>
          <a:xfrm>
            <a:off x="6311603" y="250055"/>
            <a:ext cx="6223832" cy="44209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04770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0953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309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1907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523848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82861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133387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438156" algn="l" defTabSz="609539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ts val="3632"/>
              </a:lnSpc>
            </a:pPr>
            <a:r>
              <a:rPr lang="en-US" sz="2594">
                <a:solidFill>
                  <a:srgbClr val="AECADF"/>
                </a:solidFill>
                <a:latin typeface="Canva Sans Bold"/>
              </a:rPr>
              <a:t>UPCOMING OPPORTUNITY</a:t>
            </a:r>
          </a:p>
        </p:txBody>
      </p:sp>
    </p:spTree>
    <p:extLst>
      <p:ext uri="{BB962C8B-B14F-4D97-AF65-F5344CB8AC3E}">
        <p14:creationId xmlns:p14="http://schemas.microsoft.com/office/powerpoint/2010/main" val="399950394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F18D7A-43BA-6694-92BB-52CBF20609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250" y="572616"/>
            <a:ext cx="7405757" cy="1336606"/>
          </a:xfrm>
        </p:spPr>
        <p:txBody>
          <a:bodyPr/>
          <a:lstStyle/>
          <a:p>
            <a:r>
              <a:rPr lang="en-US" sz="3200">
                <a:latin typeface="Aptos Display"/>
                <a:ea typeface="Lato Medium"/>
                <a:cs typeface="Lato Medium"/>
              </a:rPr>
              <a:t>Diversity Science</a:t>
            </a:r>
            <a:br>
              <a:rPr lang="en-US" sz="3200">
                <a:latin typeface="Aptos Display"/>
                <a:ea typeface="Lato Medium"/>
                <a:cs typeface="Lato Medium"/>
              </a:rPr>
            </a:br>
            <a:r>
              <a:rPr lang="en-US" sz="3200" i="1">
                <a:latin typeface="Aptos Display"/>
                <a:ea typeface="Lato Medium"/>
                <a:cs typeface="Lato Medium"/>
              </a:rPr>
              <a:t>Dignity in Pregnancy &amp; Childbirth: Preventing Racial Bias in Perinatal Care</a:t>
            </a:r>
            <a:endParaRPr lang="en-US" sz="3200" i="1">
              <a:latin typeface="Aptos Display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5CB37E0-D0DD-5D32-723C-8FFFF1B11D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06056" y="1700232"/>
            <a:ext cx="6566453" cy="3917288"/>
          </a:xfrm>
        </p:spPr>
        <p:txBody>
          <a:bodyPr vert="horz" lIns="91440" tIns="45720" rIns="91440" bIns="45720" rtlCol="0" anchor="t">
            <a:noAutofit/>
          </a:bodyPr>
          <a:lstStyle/>
          <a:p>
            <a:endParaRPr lang="en-US">
              <a:latin typeface="Aptos Display"/>
            </a:endParaRPr>
          </a:p>
          <a:p>
            <a:r>
              <a:rPr lang="en-US">
                <a:solidFill>
                  <a:srgbClr val="0D2C4C"/>
                </a:solidFill>
                <a:latin typeface="Aptos Display"/>
                <a:ea typeface="+mn-lt"/>
                <a:cs typeface="+mn-lt"/>
              </a:rPr>
              <a:t>Diversity Science includes courses that empower clinicians, providers, and healthcare organizations to achieve their mission of providing bias-free, high-quality care to all patients.</a:t>
            </a:r>
            <a:endParaRPr lang="en-US">
              <a:latin typeface="Aptos Display"/>
              <a:ea typeface="Lato"/>
              <a:cs typeface="Lato"/>
            </a:endParaRPr>
          </a:p>
          <a:p>
            <a:r>
              <a:rPr lang="en-US" b="1">
                <a:latin typeface="Aptos Display"/>
                <a:ea typeface="Lato"/>
                <a:cs typeface="Lato"/>
              </a:rPr>
              <a:t>ILPQC has been able to work with Diversity Science to allow Hospital teams to integrate the modules in e-learning systems.</a:t>
            </a:r>
            <a:endParaRPr lang="en-US" b="1">
              <a:latin typeface="Aptos Display"/>
            </a:endParaRPr>
          </a:p>
          <a:p>
            <a:r>
              <a:rPr lang="en-US">
                <a:latin typeface="Aptos Display"/>
                <a:ea typeface="Lato"/>
                <a:cs typeface="Lato"/>
              </a:rPr>
              <a:t>We will follow up soon with more information!</a:t>
            </a:r>
            <a:endParaRPr lang="en-US">
              <a:latin typeface="Aptos Display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616904B-7A10-4CE1-1906-FAD29EAE9F6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C8951A9-0E93-9EB9-E0A5-C488F50624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6A7BC3A8-74CA-A980-C709-FCBC5D47169C}"/>
              </a:ext>
            </a:extLst>
          </p:cNvPr>
          <p:cNvSpPr/>
          <p:nvPr/>
        </p:nvSpPr>
        <p:spPr>
          <a:xfrm>
            <a:off x="8231286" y="3429124"/>
            <a:ext cx="3434521" cy="2274956"/>
          </a:xfrm>
          <a:prstGeom prst="roundRect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200">
                <a:latin typeface="Aptos Display"/>
                <a:ea typeface="Calibri"/>
                <a:cs typeface="Calibri"/>
              </a:rPr>
              <a:t>COMING SOON!!!</a:t>
            </a:r>
            <a:endParaRPr lang="en-US" sz="2400">
              <a:latin typeface="Aptos Display"/>
              <a:ea typeface="Calibri" panose="020F0502020204030204"/>
              <a:cs typeface="Calibri" panose="020F0502020204030204"/>
            </a:endParaRPr>
          </a:p>
        </p:txBody>
      </p:sp>
      <p:pic>
        <p:nvPicPr>
          <p:cNvPr id="7" name="Picture 6" descr="A blue and white logo&#10;&#10;Description automatically generated">
            <a:extLst>
              <a:ext uri="{FF2B5EF4-FFF2-40B4-BE49-F238E27FC236}">
                <a16:creationId xmlns:a16="http://schemas.microsoft.com/office/drawing/2014/main" id="{8BCB66FF-B5D6-7E35-9EBC-FF6AF291BFE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54892" y="1699419"/>
            <a:ext cx="3190787" cy="1463576"/>
          </a:xfrm>
          <a:prstGeom prst="rect">
            <a:avLst/>
          </a:prstGeom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71283019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42A4FC2C-047E-45A5-965D-8E1E3BF09BC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 bwMode="white">
          <a:xfrm>
            <a:off x="1524" y="0"/>
            <a:ext cx="12188952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A5A8B11-FA70-78A9-9F85-BA67284A929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0" y="1282"/>
            <a:ext cx="12191980" cy="6856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83263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ADE3F33-C3B5-E055-DCEE-2F9C85028D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2422" y="383940"/>
            <a:ext cx="10515600" cy="1325563"/>
          </a:xfrm>
        </p:spPr>
        <p:txBody>
          <a:bodyPr>
            <a:normAutofit/>
          </a:bodyPr>
          <a:lstStyle/>
          <a:p>
            <a:r>
              <a:rPr lang="en-US" sz="4000" b="1">
                <a:solidFill>
                  <a:srgbClr val="1C498B"/>
                </a:solidFill>
                <a:latin typeface="DM Sans"/>
                <a:ea typeface="Lato Medium"/>
                <a:cs typeface="Lato Medium"/>
              </a:rPr>
              <a:t>Data Collection Timelines</a:t>
            </a:r>
            <a:endParaRPr lang="en-US" b="1">
              <a:solidFill>
                <a:srgbClr val="1C498B"/>
              </a:solidFill>
              <a:latin typeface="DM San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B859F-8E0E-956F-2CC7-6B79360725A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56684"/>
            <a:ext cx="7007355" cy="4620279"/>
          </a:xfrm>
        </p:spPr>
        <p:txBody>
          <a:bodyPr vert="horz" lIns="91440" tIns="45720" rIns="91440" bIns="45720" rtlCol="0" anchor="t">
            <a:noAutofit/>
          </a:bodyPr>
          <a:lstStyle/>
          <a:p>
            <a:pPr>
              <a:lnSpc>
                <a:spcPct val="100000"/>
              </a:lnSpc>
            </a:pPr>
            <a:endParaRPr lang="en-US" b="1">
              <a:latin typeface="DM Sans"/>
              <a:ea typeface="Lato"/>
              <a:cs typeface="Lato"/>
            </a:endParaRPr>
          </a:p>
          <a:p>
            <a:pPr>
              <a:lnSpc>
                <a:spcPct val="100000"/>
              </a:lnSpc>
            </a:pPr>
            <a:r>
              <a:rPr lang="en-US">
                <a:latin typeface="DM Sans"/>
                <a:ea typeface="Lato"/>
                <a:cs typeface="Calibri"/>
              </a:rPr>
              <a:t>Active initiative data, due on the final day of the following month: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>
                <a:latin typeface="DM Sans"/>
                <a:ea typeface="Lato"/>
                <a:cs typeface="Calibri"/>
              </a:rPr>
              <a:t>May </a:t>
            </a:r>
            <a:r>
              <a:rPr lang="en-US">
                <a:latin typeface="DM Sans"/>
                <a:ea typeface="Lato"/>
                <a:cs typeface="Calibri"/>
              </a:rPr>
              <a:t>Data Due 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June 30th</a:t>
            </a:r>
          </a:p>
          <a:p>
            <a:pPr lvl="1">
              <a:lnSpc>
                <a:spcPct val="100000"/>
              </a:lnSpc>
              <a:buClr>
                <a:srgbClr val="1C498B"/>
              </a:buClr>
              <a:buFont typeface="Courier New,monospace" panose="020B0604020202020204" pitchFamily="34" charset="0"/>
              <a:buChar char="o"/>
            </a:pPr>
            <a:r>
              <a:rPr lang="en-US" b="1">
                <a:latin typeface="DM Sans"/>
                <a:ea typeface="Lato"/>
                <a:cs typeface="Calibri"/>
              </a:rPr>
              <a:t>June</a:t>
            </a:r>
            <a:r>
              <a:rPr lang="en-US">
                <a:latin typeface="DM Sans"/>
                <a:ea typeface="Lato"/>
                <a:cs typeface="Calibri"/>
              </a:rPr>
              <a:t> Data Due </a:t>
            </a:r>
            <a:r>
              <a:rPr lang="en-US" b="1">
                <a:solidFill>
                  <a:srgbClr val="FF0000"/>
                </a:solidFill>
                <a:latin typeface="DM Sans"/>
                <a:ea typeface="Lato"/>
                <a:cs typeface="Calibri"/>
              </a:rPr>
              <a:t>July 31st</a:t>
            </a:r>
            <a:endParaRPr lang="en-US" b="1">
              <a:solidFill>
                <a:srgbClr val="FF0000"/>
              </a:solidFill>
              <a:latin typeface="DM Sans"/>
            </a:endParaRPr>
          </a:p>
          <a:p>
            <a:pPr marL="457200" lvl="1" indent="0">
              <a:lnSpc>
                <a:spcPct val="100000"/>
              </a:lnSpc>
              <a:buClr>
                <a:srgbClr val="1C498B"/>
              </a:buClr>
              <a:buNone/>
            </a:pPr>
            <a:endParaRPr lang="en-US">
              <a:solidFill>
                <a:srgbClr val="000000"/>
              </a:solidFill>
              <a:latin typeface="DM Sans"/>
              <a:ea typeface="Lato"/>
              <a:cs typeface="Calibri"/>
            </a:endParaRPr>
          </a:p>
          <a:p>
            <a:pPr marL="0" indent="0" algn="ctr">
              <a:lnSpc>
                <a:spcPct val="100000"/>
              </a:lnSpc>
              <a:buNone/>
            </a:pPr>
            <a:endParaRPr lang="en-US" b="1">
              <a:solidFill>
                <a:srgbClr val="FF0000"/>
              </a:solidFill>
              <a:latin typeface="DM Sans"/>
              <a:ea typeface="Lato"/>
              <a:cs typeface="Lato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78FBD2C-EF0D-27DE-A30C-E3B2A26CD63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smtClean="0"/>
              <a:pPr/>
              <a:t>27</a:t>
            </a:fld>
            <a:endParaRPr lang="en-US"/>
          </a:p>
        </p:txBody>
      </p:sp>
      <p:sp>
        <p:nvSpPr>
          <p:cNvPr id="6" name="Rectangle: Rounded Corners 5">
            <a:extLst>
              <a:ext uri="{FF2B5EF4-FFF2-40B4-BE49-F238E27FC236}">
                <a16:creationId xmlns:a16="http://schemas.microsoft.com/office/drawing/2014/main" id="{3BEB7261-6CAD-A586-63E2-7EFA2E7C8857}"/>
              </a:ext>
            </a:extLst>
          </p:cNvPr>
          <p:cNvSpPr/>
          <p:nvPr/>
        </p:nvSpPr>
        <p:spPr>
          <a:xfrm>
            <a:off x="7953892" y="1399422"/>
            <a:ext cx="3950389" cy="4200386"/>
          </a:xfrm>
          <a:prstGeom prst="roundRect">
            <a:avLst/>
          </a:prstGeom>
          <a:solidFill>
            <a:srgbClr val="1C498B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000" b="1">
                <a:latin typeface="DM Sans"/>
                <a:cs typeface="Calibri"/>
              </a:rPr>
              <a:t> Need clarification about ESSI Data? </a:t>
            </a:r>
            <a:endParaRPr lang="en-US" sz="3000">
              <a:latin typeface="DM Sans"/>
            </a:endParaRPr>
          </a:p>
          <a:p>
            <a:pPr algn="ctr"/>
            <a:r>
              <a:rPr lang="en-US" sz="3000" b="1">
                <a:latin typeface="DM Sans"/>
                <a:cs typeface="Calibri"/>
              </a:rPr>
              <a:t>Watch the ESSI Data training Webinar recording</a:t>
            </a:r>
            <a:endParaRPr lang="en-US" sz="3000">
              <a:latin typeface="DM Sans"/>
            </a:endParaRP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264C5B4-96BC-52D9-4761-56A7E9B3FF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5" name="Graphic 4" descr="Questions outline">
            <a:extLst>
              <a:ext uri="{FF2B5EF4-FFF2-40B4-BE49-F238E27FC236}">
                <a16:creationId xmlns:a16="http://schemas.microsoft.com/office/drawing/2014/main" id="{8B33EB59-604B-4C20-B41F-710AE570BE3B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552800" y="5801248"/>
            <a:ext cx="9144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153618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DEAD3F6-4276-9857-871F-5D56FB426C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5610D5-0922-E3FB-2E32-5E2628A0D3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6267" y="606414"/>
            <a:ext cx="10972800" cy="1325563"/>
          </a:xfrm>
        </p:spPr>
        <p:txBody>
          <a:bodyPr/>
          <a:lstStyle/>
          <a:p>
            <a:r>
              <a:rPr lang="en-US">
                <a:solidFill>
                  <a:srgbClr val="F37150"/>
                </a:solidFill>
                <a:latin typeface="DM Sans"/>
                <a:ea typeface="Lato Medium"/>
                <a:cs typeface="Lato Medium"/>
              </a:rPr>
              <a:t>Upcoming ESSI Calls</a:t>
            </a:r>
            <a:endParaRPr lang="en-US">
              <a:solidFill>
                <a:srgbClr val="F37150"/>
              </a:solidFill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224628E-DEC7-C9E6-9EF3-F80B5E996A6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7033E4B-E3EB-3D46-B2D8-3159663620FA}" type="slidenum">
              <a:rPr lang="en-US" dirty="0" smtClean="0"/>
              <a:pPr/>
              <a:t>28</a:t>
            </a:fld>
            <a:endParaRPr lang="en-US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742BC3D-6CDA-121F-6028-CA1546518F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graphicFrame>
        <p:nvGraphicFramePr>
          <p:cNvPr id="9" name="Content Placeholder 8">
            <a:extLst>
              <a:ext uri="{FF2B5EF4-FFF2-40B4-BE49-F238E27FC236}">
                <a16:creationId xmlns:a16="http://schemas.microsoft.com/office/drawing/2014/main" id="{8368D356-AA78-0044-7D99-8A3664F51358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54598912"/>
              </p:ext>
            </p:extLst>
          </p:nvPr>
        </p:nvGraphicFramePr>
        <p:xfrm>
          <a:off x="838200" y="1825625"/>
          <a:ext cx="10515600" cy="3689985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5257800">
                  <a:extLst>
                    <a:ext uri="{9D8B030D-6E8A-4147-A177-3AD203B41FA5}">
                      <a16:colId xmlns:a16="http://schemas.microsoft.com/office/drawing/2014/main" val="1671499887"/>
                    </a:ext>
                  </a:extLst>
                </a:gridCol>
                <a:gridCol w="5257800">
                  <a:extLst>
                    <a:ext uri="{9D8B030D-6E8A-4147-A177-3AD203B41FA5}">
                      <a16:colId xmlns:a16="http://schemas.microsoft.com/office/drawing/2014/main" val="1139397189"/>
                    </a:ext>
                  </a:extLst>
                </a:gridCol>
              </a:tblGrid>
              <a:tr h="942975"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/>
                        </a:rPr>
                        <a:t>Date</a:t>
                      </a:r>
                      <a:endParaRPr lang="en-US" b="1" dirty="0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  <a:latin typeface="DM San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2800" b="1" dirty="0">
                          <a:solidFill>
                            <a:srgbClr val="FFFFFF"/>
                          </a:solidFill>
                          <a:effectLst/>
                          <a:highlight>
                            <a:srgbClr val="ED7D31"/>
                          </a:highlight>
                          <a:latin typeface="DM Sans"/>
                        </a:rPr>
                        <a:t>Topic</a:t>
                      </a:r>
                      <a:endParaRPr lang="en-US" b="1" dirty="0">
                        <a:solidFill>
                          <a:srgbClr val="FFFFFF"/>
                        </a:solidFill>
                        <a:effectLst/>
                        <a:highlight>
                          <a:srgbClr val="ED7D31"/>
                        </a:highlight>
                        <a:latin typeface="DM Sans"/>
                      </a:endParaRPr>
                    </a:p>
                  </a:txBody>
                  <a:tcPr anchor="ctr">
                    <a:lnL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D7D3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67473551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 dirty="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August 19th, 2024</a:t>
                      </a:r>
                    </a:p>
                  </a:txBody>
                  <a:tcPr>
                    <a:lnL w="9524">
                      <a:solidFill>
                        <a:srgbClr val="FFFFFF"/>
                      </a:solidFill>
                    </a:lnL>
                    <a:lnR w="952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dirty="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Listening to Families and Respectful Care</a:t>
                      </a:r>
                    </a:p>
                  </a:txBody>
                  <a:tcPr anchor="ctr">
                    <a:lnL w="9524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095865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 dirty="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September 16th, 2024</a:t>
                      </a:r>
                    </a:p>
                  </a:txBody>
                  <a:tcPr>
                    <a:lnL w="9524">
                      <a:solidFill>
                        <a:srgbClr val="FFFFFF"/>
                      </a:solidFill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dirty="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SDOH Screening and Implementation into EMR</a:t>
                      </a:r>
                    </a:p>
                  </a:txBody>
                  <a:tcPr anchor="ctr">
                    <a:lnL w="9524">
                      <a:solidFill>
                        <a:srgbClr val="FFFFFF"/>
                      </a:solidFill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6070654"/>
                  </a:ext>
                </a:extLst>
              </a:tr>
              <a:tr h="85725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 dirty="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October 30th, 2024</a:t>
                      </a:r>
                    </a:p>
                  </a:txBody>
                  <a:tcPr>
                    <a:lnL w="9524">
                      <a:solidFill>
                        <a:srgbClr val="FFFFFF"/>
                      </a:solidFill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FFFFFF"/>
                      </a:solidFill>
                    </a:lnB>
                    <a:solidFill>
                      <a:srgbClr val="CCD2D8"/>
                    </a:solidFill>
                  </a:tcPr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2800" b="1" dirty="0">
                          <a:solidFill>
                            <a:srgbClr val="171717"/>
                          </a:solidFill>
                          <a:effectLst/>
                          <a:highlight>
                            <a:srgbClr val="CCD2D8"/>
                          </a:highlight>
                          <a:latin typeface="DM Sans"/>
                        </a:rPr>
                        <a:t>Annual Conference</a:t>
                      </a:r>
                    </a:p>
                  </a:txBody>
                  <a:tcPr anchor="ctr">
                    <a:lnL w="9524">
                      <a:solidFill>
                        <a:srgbClr val="FFFFFF"/>
                      </a:solidFill>
                    </a:lnL>
                    <a:lnR w="9524">
                      <a:solidFill>
                        <a:srgbClr val="FFFFFF"/>
                      </a:solidFill>
                    </a:lnR>
                    <a:lnT w="24527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4">
                      <a:solidFill>
                        <a:srgbClr val="FFFFFF"/>
                      </a:solidFill>
                    </a:lnB>
                    <a:solidFill>
                      <a:srgbClr val="CCD2D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11777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1763465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7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24" name="Google Shape;12724;p1192"/>
          <p:cNvSpPr txBox="1">
            <a:spLocks noGrp="1"/>
          </p:cNvSpPr>
          <p:nvPr>
            <p:ph type="sldNum" idx="12"/>
          </p:nvPr>
        </p:nvSpPr>
        <p:spPr>
          <a:xfrm>
            <a:off x="8839200" y="6356351"/>
            <a:ext cx="2743200" cy="3652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/>
          <a:p>
            <a:pPr marL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AEB3B7"/>
              </a:buClr>
              <a:buSzPts val="900"/>
              <a:buNone/>
            </a:pPr>
            <a:fld id="{00000000-1234-1234-1234-123412341234}" type="slidenum">
              <a:rPr lang="en-US" dirty="0"/>
              <a:t>29</a:t>
            </a:fld>
            <a:endParaRPr/>
          </a:p>
        </p:txBody>
      </p:sp>
      <p:sp>
        <p:nvSpPr>
          <p:cNvPr id="12728" name="Google Shape;12728;p1192"/>
          <p:cNvSpPr/>
          <p:nvPr/>
        </p:nvSpPr>
        <p:spPr>
          <a:xfrm>
            <a:off x="6789513" y="-90"/>
            <a:ext cx="5391508" cy="1437735"/>
          </a:xfrm>
          <a:prstGeom prst="roundRect">
            <a:avLst>
              <a:gd name="adj" fmla="val 16667"/>
            </a:avLst>
          </a:prstGeom>
          <a:solidFill>
            <a:schemeClr val="lt1"/>
          </a:solidFill>
          <a:ln w="25400" cap="flat" cmpd="sng">
            <a:solidFill>
              <a:schemeClr val="lt1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4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80BDAA27-2B2B-7C1B-EFFA-E96DF2430B73}"/>
              </a:ext>
            </a:extLst>
          </p:cNvPr>
          <p:cNvSpPr>
            <a:spLocks noGrp="1"/>
          </p:cNvSpPr>
          <p:nvPr>
            <p:ph type="ftr" idx="11"/>
          </p:nvPr>
        </p:nvSpPr>
        <p:spPr>
          <a:xfrm>
            <a:off x="4842933" y="6391628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Calibri"/>
                <a:cs typeface="Calibri"/>
              </a:rPr>
              <a:t>Illinois Perinatal Quality Collaborative</a:t>
            </a:r>
          </a:p>
        </p:txBody>
      </p:sp>
      <p:pic>
        <p:nvPicPr>
          <p:cNvPr id="2" name="Picture 1" descr="A text on a black background&#10;&#10;Description automatically generated">
            <a:extLst>
              <a:ext uri="{FF2B5EF4-FFF2-40B4-BE49-F238E27FC236}">
                <a16:creationId xmlns:a16="http://schemas.microsoft.com/office/drawing/2014/main" id="{D0575878-0118-6365-B65E-443B258D864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98528" y="2764"/>
            <a:ext cx="12315566" cy="68888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86481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9791C4-9B3C-9538-F299-A006E1E9E4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13942" y="704456"/>
            <a:ext cx="9365380" cy="2014679"/>
          </a:xfrm>
        </p:spPr>
        <p:txBody>
          <a:bodyPr/>
          <a:lstStyle/>
          <a:p>
            <a:r>
              <a:rPr lang="en-US">
                <a:latin typeface="Aptos"/>
                <a:ea typeface="Lato Medium"/>
                <a:cs typeface="Prompt"/>
              </a:rPr>
              <a:t>ESSI Aims and Measures</a:t>
            </a:r>
          </a:p>
        </p:txBody>
      </p:sp>
    </p:spTree>
    <p:extLst>
      <p:ext uri="{BB962C8B-B14F-4D97-AF65-F5344CB8AC3E}">
        <p14:creationId xmlns:p14="http://schemas.microsoft.com/office/powerpoint/2010/main" val="339467011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5861D58-2345-8140-2120-DC1F272BBFF2}"/>
              </a:ext>
            </a:extLst>
          </p:cNvPr>
          <p:cNvSpPr/>
          <p:nvPr/>
        </p:nvSpPr>
        <p:spPr>
          <a:xfrm>
            <a:off x="7048499" y="0"/>
            <a:ext cx="5143500" cy="18415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D668FC7-57F5-1E3A-49A6-53E69C2CA85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9025387" y="6377437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0D55EC6-512E-CD50-1A08-34BC71A40E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l"/>
            <a:r>
              <a:rPr lang="en-US"/>
              <a:t>Illinois Perinatal Quality Collaborativ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C7182B8-D745-6D49-E823-6B4C357520BB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-1628790" y="-189057"/>
            <a:ext cx="9531829" cy="1334873"/>
          </a:xfrm>
        </p:spPr>
        <p:txBody>
          <a:bodyPr/>
          <a:lstStyle/>
          <a:p>
            <a:pPr algn="ctr"/>
            <a:r>
              <a:rPr lang="en-US" sz="4800">
                <a:ea typeface="Lato Medium"/>
                <a:cs typeface="Lato Medium"/>
              </a:rPr>
              <a:t>ESSI Initiative Aims</a:t>
            </a:r>
            <a:endParaRPr lang="en-US" sz="4800"/>
          </a:p>
        </p:txBody>
      </p:sp>
      <p:grpSp>
        <p:nvGrpSpPr>
          <p:cNvPr id="12" name="Group 3">
            <a:extLst>
              <a:ext uri="{FF2B5EF4-FFF2-40B4-BE49-F238E27FC236}">
                <a16:creationId xmlns:a16="http://schemas.microsoft.com/office/drawing/2014/main" id="{A28016B6-6D80-89E3-91AF-D930E421AD61}"/>
              </a:ext>
            </a:extLst>
          </p:cNvPr>
          <p:cNvGrpSpPr/>
          <p:nvPr/>
        </p:nvGrpSpPr>
        <p:grpSpPr>
          <a:xfrm>
            <a:off x="608847" y="787285"/>
            <a:ext cx="11250165" cy="1346928"/>
            <a:chOff x="0" y="-57150"/>
            <a:chExt cx="2879117" cy="697690"/>
          </a:xfrm>
        </p:grpSpPr>
        <p:sp>
          <p:nvSpPr>
            <p:cNvPr id="10" name="Freeform 4">
              <a:extLst>
                <a:ext uri="{FF2B5EF4-FFF2-40B4-BE49-F238E27FC236}">
                  <a16:creationId xmlns:a16="http://schemas.microsoft.com/office/drawing/2014/main" id="{966BE466-0331-E647-C2F5-1581C924B039}"/>
                </a:ext>
              </a:extLst>
            </p:cNvPr>
            <p:cNvSpPr/>
            <p:nvPr/>
          </p:nvSpPr>
          <p:spPr>
            <a:xfrm>
              <a:off x="0" y="0"/>
              <a:ext cx="2879117" cy="640540"/>
            </a:xfrm>
            <a:custGeom>
              <a:avLst/>
              <a:gdLst/>
              <a:ahLst/>
              <a:cxnLst/>
              <a:rect l="l" t="t" r="r" b="b"/>
              <a:pathLst>
                <a:path w="2879117" h="640540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604421"/>
                  </a:lnTo>
                  <a:cubicBezTo>
                    <a:pt x="2879117" y="614001"/>
                    <a:pt x="2875312" y="623188"/>
                    <a:pt x="2868538" y="629961"/>
                  </a:cubicBezTo>
                  <a:cubicBezTo>
                    <a:pt x="2861764" y="636735"/>
                    <a:pt x="2852578" y="640540"/>
                    <a:pt x="2842998" y="640540"/>
                  </a:cubicBezTo>
                  <a:lnTo>
                    <a:pt x="36119" y="640540"/>
                  </a:lnTo>
                  <a:cubicBezTo>
                    <a:pt x="26539" y="640540"/>
                    <a:pt x="17353" y="636735"/>
                    <a:pt x="10579" y="629961"/>
                  </a:cubicBezTo>
                  <a:cubicBezTo>
                    <a:pt x="3805" y="623188"/>
                    <a:pt x="0" y="614001"/>
                    <a:pt x="0" y="604421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6B95FD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1" name="TextBox 5">
              <a:extLst>
                <a:ext uri="{FF2B5EF4-FFF2-40B4-BE49-F238E27FC236}">
                  <a16:creationId xmlns:a16="http://schemas.microsoft.com/office/drawing/2014/main" id="{B604E516-649C-1FD9-2519-CEA85AA2096B}"/>
                </a:ext>
              </a:extLst>
            </p:cNvPr>
            <p:cNvSpPr txBox="1"/>
            <p:nvPr/>
          </p:nvSpPr>
          <p:spPr>
            <a:xfrm>
              <a:off x="0" y="-57150"/>
              <a:ext cx="2879117" cy="69769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16" name="Group 6">
            <a:extLst>
              <a:ext uri="{FF2B5EF4-FFF2-40B4-BE49-F238E27FC236}">
                <a16:creationId xmlns:a16="http://schemas.microsoft.com/office/drawing/2014/main" id="{80963B6F-3E16-814E-7593-2BE3F5176BAA}"/>
              </a:ext>
            </a:extLst>
          </p:cNvPr>
          <p:cNvGrpSpPr/>
          <p:nvPr/>
        </p:nvGrpSpPr>
        <p:grpSpPr>
          <a:xfrm>
            <a:off x="608847" y="2215964"/>
            <a:ext cx="11288265" cy="1272328"/>
            <a:chOff x="0" y="-57150"/>
            <a:chExt cx="2879117" cy="547803"/>
          </a:xfrm>
        </p:grpSpPr>
        <p:sp>
          <p:nvSpPr>
            <p:cNvPr id="14" name="Freeform 7">
              <a:extLst>
                <a:ext uri="{FF2B5EF4-FFF2-40B4-BE49-F238E27FC236}">
                  <a16:creationId xmlns:a16="http://schemas.microsoft.com/office/drawing/2014/main" id="{A080C1E4-8D81-DC7D-733F-543A19CACC97}"/>
                </a:ext>
              </a:extLst>
            </p:cNvPr>
            <p:cNvSpPr/>
            <p:nvPr/>
          </p:nvSpPr>
          <p:spPr>
            <a:xfrm>
              <a:off x="0" y="0"/>
              <a:ext cx="2879117" cy="490653"/>
            </a:xfrm>
            <a:custGeom>
              <a:avLst/>
              <a:gdLst/>
              <a:ahLst/>
              <a:cxnLst/>
              <a:rect l="l" t="t" r="r" b="b"/>
              <a:pathLst>
                <a:path w="2879117" h="490653">
                  <a:moveTo>
                    <a:pt x="36119" y="0"/>
                  </a:moveTo>
                  <a:lnTo>
                    <a:pt x="2842998" y="0"/>
                  </a:lnTo>
                  <a:cubicBezTo>
                    <a:pt x="2852578" y="0"/>
                    <a:pt x="2861764" y="3805"/>
                    <a:pt x="2868538" y="10579"/>
                  </a:cubicBezTo>
                  <a:cubicBezTo>
                    <a:pt x="2875312" y="17353"/>
                    <a:pt x="2879117" y="26539"/>
                    <a:pt x="2879117" y="36119"/>
                  </a:cubicBezTo>
                  <a:lnTo>
                    <a:pt x="2879117" y="454535"/>
                  </a:lnTo>
                  <a:cubicBezTo>
                    <a:pt x="2879117" y="464114"/>
                    <a:pt x="2875312" y="473301"/>
                    <a:pt x="2868538" y="480074"/>
                  </a:cubicBezTo>
                  <a:cubicBezTo>
                    <a:pt x="2861764" y="486848"/>
                    <a:pt x="2852578" y="490653"/>
                    <a:pt x="2842998" y="490653"/>
                  </a:cubicBezTo>
                  <a:lnTo>
                    <a:pt x="36119" y="490653"/>
                  </a:lnTo>
                  <a:cubicBezTo>
                    <a:pt x="26539" y="490653"/>
                    <a:pt x="17353" y="486848"/>
                    <a:pt x="10579" y="480074"/>
                  </a:cubicBezTo>
                  <a:cubicBezTo>
                    <a:pt x="3805" y="473301"/>
                    <a:pt x="0" y="464114"/>
                    <a:pt x="0" y="454535"/>
                  </a:cubicBezTo>
                  <a:lnTo>
                    <a:pt x="0" y="36119"/>
                  </a:lnTo>
                  <a:cubicBezTo>
                    <a:pt x="0" y="26539"/>
                    <a:pt x="3805" y="17353"/>
                    <a:pt x="10579" y="10579"/>
                  </a:cubicBezTo>
                  <a:cubicBezTo>
                    <a:pt x="17353" y="3805"/>
                    <a:pt x="26539" y="0"/>
                    <a:pt x="36119" y="0"/>
                  </a:cubicBezTo>
                  <a:close/>
                </a:path>
              </a:pathLst>
            </a:custGeom>
            <a:solidFill>
              <a:srgbClr val="1C498B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5" name="TextBox 8">
              <a:extLst>
                <a:ext uri="{FF2B5EF4-FFF2-40B4-BE49-F238E27FC236}">
                  <a16:creationId xmlns:a16="http://schemas.microsoft.com/office/drawing/2014/main" id="{41866C53-10BB-5C7A-FBB8-8B559FBF4543}"/>
                </a:ext>
              </a:extLst>
            </p:cNvPr>
            <p:cNvSpPr txBox="1"/>
            <p:nvPr/>
          </p:nvSpPr>
          <p:spPr>
            <a:xfrm>
              <a:off x="0" y="-57150"/>
              <a:ext cx="2879117" cy="547803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  <a:spcBef>
                  <a:spcPct val="0"/>
                </a:spcBef>
              </a:pPr>
              <a:endParaRPr sz="800"/>
            </a:p>
          </p:txBody>
        </p:sp>
      </p:grpSp>
      <p:grpSp>
        <p:nvGrpSpPr>
          <p:cNvPr id="20" name="Group 9">
            <a:extLst>
              <a:ext uri="{FF2B5EF4-FFF2-40B4-BE49-F238E27FC236}">
                <a16:creationId xmlns:a16="http://schemas.microsoft.com/office/drawing/2014/main" id="{57B897C2-5645-67EB-E870-DDA8EEAA309C}"/>
              </a:ext>
            </a:extLst>
          </p:cNvPr>
          <p:cNvGrpSpPr/>
          <p:nvPr/>
        </p:nvGrpSpPr>
        <p:grpSpPr>
          <a:xfrm>
            <a:off x="91329" y="1152079"/>
            <a:ext cx="812800" cy="825500"/>
            <a:chOff x="0" y="0"/>
            <a:chExt cx="812800" cy="812800"/>
          </a:xfrm>
        </p:grpSpPr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id="{C87BADC8-1879-2359-C52E-E819876B32FA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19" name="TextBox 11">
              <a:extLst>
                <a:ext uri="{FF2B5EF4-FFF2-40B4-BE49-F238E27FC236}">
                  <a16:creationId xmlns:a16="http://schemas.microsoft.com/office/drawing/2014/main" id="{AF32047E-EB6B-BD4B-76DD-7D47B980544C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26" name="TextBox 15">
            <a:extLst>
              <a:ext uri="{FF2B5EF4-FFF2-40B4-BE49-F238E27FC236}">
                <a16:creationId xmlns:a16="http://schemas.microsoft.com/office/drawing/2014/main" id="{E9780070-BCB0-A4DC-93F5-6A72106D04EE}"/>
              </a:ext>
            </a:extLst>
          </p:cNvPr>
          <p:cNvSpPr txBox="1"/>
          <p:nvPr/>
        </p:nvSpPr>
        <p:spPr>
          <a:xfrm>
            <a:off x="992051" y="1158360"/>
            <a:ext cx="10796527" cy="9517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70% of Illinois birthing and children’s hospitals will address disparities and promote neonatal equity by actively participating in the ESSI initiative.​</a:t>
            </a:r>
          </a:p>
          <a:p>
            <a:pPr>
              <a:lnSpc>
                <a:spcPts val="2167"/>
              </a:lnSpc>
            </a:pPr>
            <a:endParaRPr lang="en-US" sz="2000">
              <a:solidFill>
                <a:srgbClr val="FFFFFF"/>
              </a:solidFill>
              <a:latin typeface="DM Sans"/>
            </a:endParaRPr>
          </a:p>
        </p:txBody>
      </p:sp>
      <p:sp>
        <p:nvSpPr>
          <p:cNvPr id="28" name="TextBox 16">
            <a:extLst>
              <a:ext uri="{FF2B5EF4-FFF2-40B4-BE49-F238E27FC236}">
                <a16:creationId xmlns:a16="http://schemas.microsoft.com/office/drawing/2014/main" id="{8C1D734D-3C73-E6F6-D1A8-CF64A5F8112D}"/>
              </a:ext>
            </a:extLst>
          </p:cNvPr>
          <p:cNvSpPr txBox="1"/>
          <p:nvPr/>
        </p:nvSpPr>
        <p:spPr>
          <a:xfrm>
            <a:off x="1111307" y="2549809"/>
            <a:ext cx="10558015" cy="6567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600"/>
              </a:lnSpc>
            </a:pPr>
            <a:r>
              <a:rPr lang="en-US" sz="2000">
                <a:solidFill>
                  <a:srgbClr val="FFFFFF"/>
                </a:solidFill>
                <a:latin typeface="DM Sans"/>
              </a:rPr>
              <a:t>By December 2025, greater than 80% of infants will be discharged from ILPQC hospitals with a completed ESSI Bundle.</a:t>
            </a:r>
          </a:p>
        </p:txBody>
      </p:sp>
      <p:sp>
        <p:nvSpPr>
          <p:cNvPr id="30" name="Freeform 17">
            <a:extLst>
              <a:ext uri="{FF2B5EF4-FFF2-40B4-BE49-F238E27FC236}">
                <a16:creationId xmlns:a16="http://schemas.microsoft.com/office/drawing/2014/main" id="{807B8E33-7EFF-7586-9B2A-EEB15CC8C381}"/>
              </a:ext>
            </a:extLst>
          </p:cNvPr>
          <p:cNvSpPr/>
          <p:nvPr/>
        </p:nvSpPr>
        <p:spPr>
          <a:xfrm>
            <a:off x="886026" y="4618936"/>
            <a:ext cx="3150228" cy="608867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80"/>
                </a:lnTo>
                <a:lnTo>
                  <a:pt x="0" y="780780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2" name="TextBox 18">
            <a:extLst>
              <a:ext uri="{FF2B5EF4-FFF2-40B4-BE49-F238E27FC236}">
                <a16:creationId xmlns:a16="http://schemas.microsoft.com/office/drawing/2014/main" id="{A29085F2-BEE6-99AF-40AD-620EFEAA68F9}"/>
              </a:ext>
            </a:extLst>
          </p:cNvPr>
          <p:cNvSpPr txBox="1"/>
          <p:nvPr/>
        </p:nvSpPr>
        <p:spPr>
          <a:xfrm>
            <a:off x="1387344" y="4808167"/>
            <a:ext cx="2028316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READINESS</a:t>
            </a:r>
          </a:p>
        </p:txBody>
      </p:sp>
      <p:sp>
        <p:nvSpPr>
          <p:cNvPr id="34" name="Freeform 19">
            <a:extLst>
              <a:ext uri="{FF2B5EF4-FFF2-40B4-BE49-F238E27FC236}">
                <a16:creationId xmlns:a16="http://schemas.microsoft.com/office/drawing/2014/main" id="{27AAACD0-2AD9-0861-FD85-F167BEEF8D8C}"/>
              </a:ext>
            </a:extLst>
          </p:cNvPr>
          <p:cNvSpPr/>
          <p:nvPr/>
        </p:nvSpPr>
        <p:spPr>
          <a:xfrm>
            <a:off x="893425" y="5385726"/>
            <a:ext cx="3150228" cy="627629"/>
          </a:xfrm>
          <a:custGeom>
            <a:avLst/>
            <a:gdLst/>
            <a:ahLst/>
            <a:cxnLst/>
            <a:rect l="l" t="t" r="r" b="b"/>
            <a:pathLst>
              <a:path w="4592821" h="780779">
                <a:moveTo>
                  <a:pt x="0" y="0"/>
                </a:moveTo>
                <a:lnTo>
                  <a:pt x="4592820" y="0"/>
                </a:lnTo>
                <a:lnTo>
                  <a:pt x="4592820" y="780779"/>
                </a:lnTo>
                <a:lnTo>
                  <a:pt x="0" y="780779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6" name="TextBox 20">
            <a:extLst>
              <a:ext uri="{FF2B5EF4-FFF2-40B4-BE49-F238E27FC236}">
                <a16:creationId xmlns:a16="http://schemas.microsoft.com/office/drawing/2014/main" id="{73602F57-63E5-AD2C-8F35-EEE5A55C03B9}"/>
              </a:ext>
            </a:extLst>
          </p:cNvPr>
          <p:cNvSpPr txBox="1"/>
          <p:nvPr/>
        </p:nvSpPr>
        <p:spPr>
          <a:xfrm>
            <a:off x="836786" y="5577580"/>
            <a:ext cx="3206735" cy="30021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TRANSFER OF CARE</a:t>
            </a:r>
          </a:p>
        </p:txBody>
      </p:sp>
      <p:sp>
        <p:nvSpPr>
          <p:cNvPr id="38" name="Freeform 21">
            <a:extLst>
              <a:ext uri="{FF2B5EF4-FFF2-40B4-BE49-F238E27FC236}">
                <a16:creationId xmlns:a16="http://schemas.microsoft.com/office/drawing/2014/main" id="{B9969608-898E-6FC6-1F08-56733F2AA44B}"/>
              </a:ext>
            </a:extLst>
          </p:cNvPr>
          <p:cNvSpPr/>
          <p:nvPr/>
        </p:nvSpPr>
        <p:spPr>
          <a:xfrm>
            <a:off x="888227" y="3819390"/>
            <a:ext cx="3148028" cy="608493"/>
          </a:xfrm>
          <a:custGeom>
            <a:avLst/>
            <a:gdLst/>
            <a:ahLst/>
            <a:cxnLst/>
            <a:rect l="l" t="t" r="r" b="b"/>
            <a:pathLst>
              <a:path w="4589522" h="780219">
                <a:moveTo>
                  <a:pt x="0" y="0"/>
                </a:moveTo>
                <a:lnTo>
                  <a:pt x="4589521" y="0"/>
                </a:lnTo>
                <a:lnTo>
                  <a:pt x="4589521" y="780218"/>
                </a:lnTo>
                <a:lnTo>
                  <a:pt x="0" y="780218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0" name="TextBox 22">
            <a:extLst>
              <a:ext uri="{FF2B5EF4-FFF2-40B4-BE49-F238E27FC236}">
                <a16:creationId xmlns:a16="http://schemas.microsoft.com/office/drawing/2014/main" id="{9869AD74-D8A3-0B44-10F4-685B412FCB24}"/>
              </a:ext>
            </a:extLst>
          </p:cNvPr>
          <p:cNvSpPr txBox="1"/>
          <p:nvPr/>
        </p:nvSpPr>
        <p:spPr>
          <a:xfrm>
            <a:off x="298855" y="947398"/>
            <a:ext cx="410448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1</a:t>
            </a:r>
          </a:p>
        </p:txBody>
      </p:sp>
      <p:sp>
        <p:nvSpPr>
          <p:cNvPr id="44" name="TextBox 24">
            <a:extLst>
              <a:ext uri="{FF2B5EF4-FFF2-40B4-BE49-F238E27FC236}">
                <a16:creationId xmlns:a16="http://schemas.microsoft.com/office/drawing/2014/main" id="{E3D868BB-9056-5F85-37FB-DC17C2377580}"/>
              </a:ext>
            </a:extLst>
          </p:cNvPr>
          <p:cNvSpPr txBox="1"/>
          <p:nvPr/>
        </p:nvSpPr>
        <p:spPr>
          <a:xfrm>
            <a:off x="1488052" y="4008485"/>
            <a:ext cx="1951014" cy="3112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333"/>
              </a:lnSpc>
            </a:pPr>
            <a:r>
              <a:rPr lang="en-US" sz="2333">
                <a:solidFill>
                  <a:srgbClr val="FFFFFF"/>
                </a:solidFill>
                <a:latin typeface="Kollektif Bold"/>
              </a:rPr>
              <a:t>AWARENESS</a:t>
            </a:r>
          </a:p>
        </p:txBody>
      </p:sp>
      <p:sp>
        <p:nvSpPr>
          <p:cNvPr id="46" name="TextBox 25">
            <a:extLst>
              <a:ext uri="{FF2B5EF4-FFF2-40B4-BE49-F238E27FC236}">
                <a16:creationId xmlns:a16="http://schemas.microsoft.com/office/drawing/2014/main" id="{1072F846-48B0-2F56-6528-205809296213}"/>
              </a:ext>
            </a:extLst>
          </p:cNvPr>
          <p:cNvSpPr txBox="1"/>
          <p:nvPr/>
        </p:nvSpPr>
        <p:spPr>
          <a:xfrm>
            <a:off x="4312052" y="3863840"/>
            <a:ext cx="7763339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Parents or caregivers report an understanding of a safe sleep environment.</a:t>
            </a:r>
          </a:p>
        </p:txBody>
      </p:sp>
      <p:sp>
        <p:nvSpPr>
          <p:cNvPr id="48" name="TextBox 26">
            <a:extLst>
              <a:ext uri="{FF2B5EF4-FFF2-40B4-BE49-F238E27FC236}">
                <a16:creationId xmlns:a16="http://schemas.microsoft.com/office/drawing/2014/main" id="{9DA002CE-213B-0EFE-03DC-C3DB65BCF003}"/>
              </a:ext>
            </a:extLst>
          </p:cNvPr>
          <p:cNvSpPr txBox="1"/>
          <p:nvPr/>
        </p:nvSpPr>
        <p:spPr>
          <a:xfrm>
            <a:off x="4311686" y="4691360"/>
            <a:ext cx="7409744" cy="57496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Family is prepared for a transition to home, including </a:t>
            </a:r>
            <a:r>
              <a:rPr lang="en-US" sz="2200" err="1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SDoH</a:t>
            </a:r>
            <a:r>
              <a:rPr lang="en-US" sz="2200">
                <a:solidFill>
                  <a:srgbClr val="000000"/>
                </a:solidFill>
                <a:latin typeface="DM Sans"/>
                <a:ea typeface="+mn-lt"/>
                <a:cs typeface="+mn-lt"/>
              </a:rPr>
              <a:t> screening and resource linkage.</a:t>
            </a:r>
            <a:endParaRPr lang="en-US" sz="2200">
              <a:solidFill>
                <a:srgbClr val="000000"/>
              </a:solidFill>
              <a:latin typeface="DM Sans"/>
            </a:endParaRPr>
          </a:p>
        </p:txBody>
      </p:sp>
      <p:sp>
        <p:nvSpPr>
          <p:cNvPr id="50" name="TextBox 27">
            <a:extLst>
              <a:ext uri="{FF2B5EF4-FFF2-40B4-BE49-F238E27FC236}">
                <a16:creationId xmlns:a16="http://schemas.microsoft.com/office/drawing/2014/main" id="{484FA518-5005-04AD-A148-23B555389D18}"/>
              </a:ext>
            </a:extLst>
          </p:cNvPr>
          <p:cNvSpPr txBox="1"/>
          <p:nvPr/>
        </p:nvSpPr>
        <p:spPr>
          <a:xfrm>
            <a:off x="4314936" y="5564972"/>
            <a:ext cx="7457964" cy="29219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2239"/>
              </a:lnSpc>
              <a:spcBef>
                <a:spcPct val="0"/>
              </a:spcBef>
            </a:pPr>
            <a:r>
              <a:rPr lang="en-US" sz="2200">
                <a:solidFill>
                  <a:srgbClr val="000000"/>
                </a:solidFill>
                <a:latin typeface="DM Sans"/>
                <a:ea typeface="Calibri"/>
                <a:cs typeface="Calibri"/>
              </a:rPr>
              <a:t>Communication to primary care provider completed.</a:t>
            </a:r>
            <a:endParaRPr lang="en-US" sz="2200">
              <a:latin typeface="DM Sans"/>
              <a:cs typeface="Calibri"/>
            </a:endParaRPr>
          </a:p>
        </p:txBody>
      </p:sp>
      <p:grpSp>
        <p:nvGrpSpPr>
          <p:cNvPr id="7" name="Group 9">
            <a:extLst>
              <a:ext uri="{FF2B5EF4-FFF2-40B4-BE49-F238E27FC236}">
                <a16:creationId xmlns:a16="http://schemas.microsoft.com/office/drawing/2014/main" id="{59DCCF77-1BDF-BB49-8752-58A43F365FAC}"/>
              </a:ext>
            </a:extLst>
          </p:cNvPr>
          <p:cNvGrpSpPr/>
          <p:nvPr/>
        </p:nvGrpSpPr>
        <p:grpSpPr>
          <a:xfrm>
            <a:off x="91329" y="2498278"/>
            <a:ext cx="812800" cy="825500"/>
            <a:chOff x="0" y="0"/>
            <a:chExt cx="812800" cy="812800"/>
          </a:xfrm>
        </p:grpSpPr>
        <p:sp>
          <p:nvSpPr>
            <p:cNvPr id="8" name="Freeform 10">
              <a:extLst>
                <a:ext uri="{FF2B5EF4-FFF2-40B4-BE49-F238E27FC236}">
                  <a16:creationId xmlns:a16="http://schemas.microsoft.com/office/drawing/2014/main" id="{E15AE669-9885-B6BE-D637-60B38E0F95F5}"/>
                </a:ext>
              </a:extLst>
            </p:cNvPr>
            <p:cNvSpPr/>
            <p:nvPr/>
          </p:nvSpPr>
          <p:spPr>
            <a:xfrm>
              <a:off x="0" y="0"/>
              <a:ext cx="812800" cy="812800"/>
            </a:xfrm>
            <a:custGeom>
              <a:avLst/>
              <a:gdLst/>
              <a:ahLst/>
              <a:cxnLst/>
              <a:rect l="l" t="t" r="r" b="b"/>
              <a:pathLst>
                <a:path w="812800" h="812800">
                  <a:moveTo>
                    <a:pt x="406400" y="0"/>
                  </a:moveTo>
                  <a:cubicBezTo>
                    <a:pt x="181951" y="0"/>
                    <a:pt x="0" y="181951"/>
                    <a:pt x="0" y="406400"/>
                  </a:cubicBezTo>
                  <a:cubicBezTo>
                    <a:pt x="0" y="630849"/>
                    <a:pt x="181951" y="812800"/>
                    <a:pt x="406400" y="812800"/>
                  </a:cubicBezTo>
                  <a:cubicBezTo>
                    <a:pt x="630849" y="812800"/>
                    <a:pt x="812800" y="630849"/>
                    <a:pt x="812800" y="406400"/>
                  </a:cubicBezTo>
                  <a:cubicBezTo>
                    <a:pt x="812800" y="181951"/>
                    <a:pt x="630849" y="0"/>
                    <a:pt x="406400" y="0"/>
                  </a:cubicBezTo>
                  <a:close/>
                </a:path>
              </a:pathLst>
            </a:custGeom>
            <a:solidFill>
              <a:srgbClr val="C45ED1"/>
            </a:solidFill>
          </p:spPr>
          <p:txBody>
            <a:bodyPr/>
            <a:lstStyle/>
            <a:p>
              <a:endParaRPr lang="en-US"/>
            </a:p>
          </p:txBody>
        </p:sp>
        <p:sp>
          <p:nvSpPr>
            <p:cNvPr id="9" name="TextBox 11">
              <a:extLst>
                <a:ext uri="{FF2B5EF4-FFF2-40B4-BE49-F238E27FC236}">
                  <a16:creationId xmlns:a16="http://schemas.microsoft.com/office/drawing/2014/main" id="{2EC913AF-9BAA-D267-4DAB-C2EAAC071B91}"/>
                </a:ext>
              </a:extLst>
            </p:cNvPr>
            <p:cNvSpPr txBox="1"/>
            <p:nvPr/>
          </p:nvSpPr>
          <p:spPr>
            <a:xfrm>
              <a:off x="76200" y="19050"/>
              <a:ext cx="660400" cy="717550"/>
            </a:xfrm>
            <a:prstGeom prst="rect">
              <a:avLst/>
            </a:prstGeom>
          </p:spPr>
          <p:txBody>
            <a:bodyPr lIns="33867" tIns="33867" rIns="33867" bIns="33867" rtlCol="0" anchor="ctr"/>
            <a:lstStyle/>
            <a:p>
              <a:pPr algn="ctr">
                <a:lnSpc>
                  <a:spcPts val="1773"/>
                </a:lnSpc>
              </a:pPr>
              <a:endParaRPr sz="800"/>
            </a:p>
          </p:txBody>
        </p:sp>
      </p:grpSp>
      <p:sp>
        <p:nvSpPr>
          <p:cNvPr id="42" name="TextBox 23">
            <a:extLst>
              <a:ext uri="{FF2B5EF4-FFF2-40B4-BE49-F238E27FC236}">
                <a16:creationId xmlns:a16="http://schemas.microsoft.com/office/drawing/2014/main" id="{FB430A34-582F-067B-AEF5-DB4764FC6C5A}"/>
              </a:ext>
            </a:extLst>
          </p:cNvPr>
          <p:cNvSpPr txBox="1"/>
          <p:nvPr/>
        </p:nvSpPr>
        <p:spPr>
          <a:xfrm>
            <a:off x="290166" y="2295809"/>
            <a:ext cx="434023" cy="103483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8587"/>
              </a:lnSpc>
            </a:pPr>
            <a:r>
              <a:rPr lang="en-US" sz="6134">
                <a:solidFill>
                  <a:srgbClr val="FFFFFF"/>
                </a:solidFill>
                <a:latin typeface="Canva Sans 2 Bold"/>
              </a:rPr>
              <a:t>2</a:t>
            </a:r>
          </a:p>
        </p:txBody>
      </p:sp>
      <p:sp>
        <p:nvSpPr>
          <p:cNvPr id="13" name="Freeform 13">
            <a:extLst>
              <a:ext uri="{FF2B5EF4-FFF2-40B4-BE49-F238E27FC236}">
                <a16:creationId xmlns:a16="http://schemas.microsoft.com/office/drawing/2014/main" id="{3BDDD164-0124-FE54-AD8E-88B343F5817D}"/>
              </a:ext>
            </a:extLst>
          </p:cNvPr>
          <p:cNvSpPr/>
          <p:nvPr/>
        </p:nvSpPr>
        <p:spPr>
          <a:xfrm>
            <a:off x="9566983" y="166209"/>
            <a:ext cx="1520914" cy="655191"/>
          </a:xfrm>
          <a:custGeom>
            <a:avLst/>
            <a:gdLst/>
            <a:ahLst/>
            <a:cxnLst/>
            <a:rect l="l" t="t" r="r" b="b"/>
            <a:pathLst>
              <a:path w="2281371" h="982786">
                <a:moveTo>
                  <a:pt x="0" y="0"/>
                </a:moveTo>
                <a:lnTo>
                  <a:pt x="2281372" y="0"/>
                </a:lnTo>
                <a:lnTo>
                  <a:pt x="2281372" y="982786"/>
                </a:lnTo>
                <a:lnTo>
                  <a:pt x="0" y="982786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47560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reeform 2"/>
          <p:cNvSpPr/>
          <p:nvPr/>
        </p:nvSpPr>
        <p:spPr>
          <a:xfrm>
            <a:off x="1845693" y="484263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3" name="Freeform 3"/>
          <p:cNvSpPr/>
          <p:nvPr/>
        </p:nvSpPr>
        <p:spPr>
          <a:xfrm>
            <a:off x="1845693" y="1550509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8"/>
                </a:lnTo>
                <a:lnTo>
                  <a:pt x="0" y="1027868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4" name="Freeform 4"/>
          <p:cNvSpPr/>
          <p:nvPr/>
        </p:nvSpPr>
        <p:spPr>
          <a:xfrm>
            <a:off x="1845693" y="261675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5" name="Freeform 5"/>
          <p:cNvSpPr/>
          <p:nvPr/>
        </p:nvSpPr>
        <p:spPr>
          <a:xfrm>
            <a:off x="1845693" y="3719974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6" name="Freeform 6"/>
          <p:cNvSpPr/>
          <p:nvPr/>
        </p:nvSpPr>
        <p:spPr>
          <a:xfrm>
            <a:off x="1845693" y="4786220"/>
            <a:ext cx="4030857" cy="685246"/>
          </a:xfrm>
          <a:custGeom>
            <a:avLst/>
            <a:gdLst/>
            <a:ahLst/>
            <a:cxnLst/>
            <a:rect l="l" t="t" r="r" b="b"/>
            <a:pathLst>
              <a:path w="6046286" h="1027869">
                <a:moveTo>
                  <a:pt x="0" y="0"/>
                </a:moveTo>
                <a:lnTo>
                  <a:pt x="6046286" y="0"/>
                </a:lnTo>
                <a:lnTo>
                  <a:pt x="6046286" y="1027869"/>
                </a:lnTo>
                <a:lnTo>
                  <a:pt x="0" y="1027869"/>
                </a:lnTo>
                <a:lnTo>
                  <a:pt x="0" y="0"/>
                </a:lnTo>
                <a:close/>
              </a:path>
            </a:pathLst>
          </a:cu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7" name="Freeform 7"/>
          <p:cNvSpPr/>
          <p:nvPr/>
        </p:nvSpPr>
        <p:spPr>
          <a:xfrm>
            <a:off x="4269331" y="1475298"/>
            <a:ext cx="1176995" cy="835667"/>
          </a:xfrm>
          <a:custGeom>
            <a:avLst/>
            <a:gdLst/>
            <a:ahLst/>
            <a:cxnLst/>
            <a:rect l="l" t="t" r="r" b="b"/>
            <a:pathLst>
              <a:path w="1765493" h="1253500">
                <a:moveTo>
                  <a:pt x="0" y="0"/>
                </a:moveTo>
                <a:lnTo>
                  <a:pt x="1765493" y="0"/>
                </a:lnTo>
                <a:lnTo>
                  <a:pt x="1765493" y="1253500"/>
                </a:lnTo>
                <a:lnTo>
                  <a:pt x="0" y="1253500"/>
                </a:lnTo>
                <a:lnTo>
                  <a:pt x="0" y="0"/>
                </a:lnTo>
                <a:close/>
              </a:path>
            </a:pathLst>
          </a:cu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8" name="Freeform 8"/>
          <p:cNvSpPr/>
          <p:nvPr/>
        </p:nvSpPr>
        <p:spPr>
          <a:xfrm>
            <a:off x="4435542" y="337989"/>
            <a:ext cx="844571" cy="977795"/>
          </a:xfrm>
          <a:custGeom>
            <a:avLst/>
            <a:gdLst/>
            <a:ahLst/>
            <a:cxnLst/>
            <a:rect l="l" t="t" r="r" b="b"/>
            <a:pathLst>
              <a:path w="1266856" h="1466693">
                <a:moveTo>
                  <a:pt x="0" y="0"/>
                </a:moveTo>
                <a:lnTo>
                  <a:pt x="1266857" y="0"/>
                </a:lnTo>
                <a:lnTo>
                  <a:pt x="1266857" y="1466693"/>
                </a:lnTo>
                <a:lnTo>
                  <a:pt x="0" y="1466693"/>
                </a:lnTo>
                <a:lnTo>
                  <a:pt x="0" y="0"/>
                </a:lnTo>
                <a:close/>
              </a:path>
            </a:pathLst>
          </a:custGeom>
          <a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9" name="Freeform 9"/>
          <p:cNvSpPr/>
          <p:nvPr/>
        </p:nvSpPr>
        <p:spPr>
          <a:xfrm>
            <a:off x="4359071" y="2554817"/>
            <a:ext cx="997512" cy="874183"/>
          </a:xfrm>
          <a:custGeom>
            <a:avLst/>
            <a:gdLst/>
            <a:ahLst/>
            <a:cxnLst/>
            <a:rect l="l" t="t" r="r" b="b"/>
            <a:pathLst>
              <a:path w="1496268" h="1311275">
                <a:moveTo>
                  <a:pt x="0" y="0"/>
                </a:moveTo>
                <a:lnTo>
                  <a:pt x="1496269" y="0"/>
                </a:lnTo>
                <a:lnTo>
                  <a:pt x="1496269" y="1311275"/>
                </a:lnTo>
                <a:lnTo>
                  <a:pt x="0" y="1311275"/>
                </a:lnTo>
                <a:lnTo>
                  <a:pt x="0" y="0"/>
                </a:lnTo>
                <a:close/>
              </a:path>
            </a:pathLst>
          </a:custGeom>
          <a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0" name="Freeform 10"/>
          <p:cNvSpPr/>
          <p:nvPr/>
        </p:nvSpPr>
        <p:spPr>
          <a:xfrm>
            <a:off x="4335393" y="3532928"/>
            <a:ext cx="1021191" cy="1080626"/>
          </a:xfrm>
          <a:custGeom>
            <a:avLst/>
            <a:gdLst/>
            <a:ahLst/>
            <a:cxnLst/>
            <a:rect l="l" t="t" r="r" b="b"/>
            <a:pathLst>
              <a:path w="1531787" h="1620939">
                <a:moveTo>
                  <a:pt x="0" y="0"/>
                </a:moveTo>
                <a:lnTo>
                  <a:pt x="1531787" y="0"/>
                </a:lnTo>
                <a:lnTo>
                  <a:pt x="1531787" y="1620939"/>
                </a:lnTo>
                <a:lnTo>
                  <a:pt x="0" y="1620939"/>
                </a:lnTo>
                <a:lnTo>
                  <a:pt x="0" y="0"/>
                </a:lnTo>
                <a:close/>
              </a:path>
            </a:pathLst>
          </a:custGeom>
          <a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1" name="Freeform 11"/>
          <p:cNvSpPr/>
          <p:nvPr/>
        </p:nvSpPr>
        <p:spPr>
          <a:xfrm>
            <a:off x="4437945" y="4715153"/>
            <a:ext cx="1008380" cy="1016000"/>
          </a:xfrm>
          <a:custGeom>
            <a:avLst/>
            <a:gdLst/>
            <a:ahLst/>
            <a:cxnLst/>
            <a:rect l="l" t="t" r="r" b="b"/>
            <a:pathLst>
              <a:path w="1512570" h="1524000">
                <a:moveTo>
                  <a:pt x="0" y="0"/>
                </a:moveTo>
                <a:lnTo>
                  <a:pt x="1512570" y="0"/>
                </a:lnTo>
                <a:lnTo>
                  <a:pt x="1512570" y="1524000"/>
                </a:lnTo>
                <a:lnTo>
                  <a:pt x="0" y="1524000"/>
                </a:lnTo>
                <a:lnTo>
                  <a:pt x="0" y="0"/>
                </a:lnTo>
                <a:close/>
              </a:path>
            </a:pathLst>
          </a:custGeom>
          <a:blipFill>
            <a:blip r:embed="rId1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12" name="TextBox 12"/>
          <p:cNvSpPr txBox="1"/>
          <p:nvPr/>
        </p:nvSpPr>
        <p:spPr>
          <a:xfrm>
            <a:off x="2074739" y="646616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1</a:t>
            </a:r>
          </a:p>
        </p:txBody>
      </p:sp>
      <p:sp>
        <p:nvSpPr>
          <p:cNvPr id="13" name="TextBox 13"/>
          <p:cNvSpPr txBox="1"/>
          <p:nvPr/>
        </p:nvSpPr>
        <p:spPr>
          <a:xfrm>
            <a:off x="2074739" y="1684639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2</a:t>
            </a:r>
          </a:p>
        </p:txBody>
      </p:sp>
      <p:sp>
        <p:nvSpPr>
          <p:cNvPr id="14" name="TextBox 14"/>
          <p:cNvSpPr txBox="1"/>
          <p:nvPr/>
        </p:nvSpPr>
        <p:spPr>
          <a:xfrm>
            <a:off x="2074739" y="275088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3</a:t>
            </a:r>
          </a:p>
        </p:txBody>
      </p:sp>
      <p:sp>
        <p:nvSpPr>
          <p:cNvPr id="15" name="TextBox 15"/>
          <p:cNvSpPr txBox="1"/>
          <p:nvPr/>
        </p:nvSpPr>
        <p:spPr>
          <a:xfrm>
            <a:off x="6096000" y="711200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Healthcare Professional Commitment</a:t>
            </a:r>
          </a:p>
        </p:txBody>
      </p:sp>
      <p:sp>
        <p:nvSpPr>
          <p:cNvPr id="16" name="TextBox 16"/>
          <p:cNvSpPr txBox="1"/>
          <p:nvPr/>
        </p:nvSpPr>
        <p:spPr>
          <a:xfrm>
            <a:off x="6096000" y="1727818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Inclusive Clinical Environment</a:t>
            </a:r>
          </a:p>
        </p:txBody>
      </p:sp>
      <p:sp>
        <p:nvSpPr>
          <p:cNvPr id="17" name="TextBox 17"/>
          <p:cNvSpPr txBox="1"/>
          <p:nvPr/>
        </p:nvSpPr>
        <p:spPr>
          <a:xfrm>
            <a:off x="6096000" y="2825179"/>
            <a:ext cx="5573501" cy="337978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40"/>
              </a:lnSpc>
            </a:pPr>
            <a:r>
              <a:rPr lang="en-US" sz="2400">
                <a:solidFill>
                  <a:srgbClr val="545454"/>
                </a:solidFill>
                <a:latin typeface="DM Sans"/>
                <a:cs typeface="Calibri"/>
              </a:rPr>
              <a:t>Parents and Caregiver Empowerment</a:t>
            </a:r>
          </a:p>
        </p:txBody>
      </p:sp>
      <p:sp>
        <p:nvSpPr>
          <p:cNvPr id="18" name="TextBox 18"/>
          <p:cNvSpPr txBox="1"/>
          <p:nvPr/>
        </p:nvSpPr>
        <p:spPr>
          <a:xfrm>
            <a:off x="2074739" y="3854105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4</a:t>
            </a:r>
          </a:p>
        </p:txBody>
      </p:sp>
      <p:sp>
        <p:nvSpPr>
          <p:cNvPr id="19" name="TextBox 19"/>
          <p:cNvSpPr txBox="1"/>
          <p:nvPr/>
        </p:nvSpPr>
        <p:spPr>
          <a:xfrm>
            <a:off x="2074739" y="4957670"/>
            <a:ext cx="3801811" cy="356764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667"/>
              </a:lnSpc>
            </a:pPr>
            <a:r>
              <a:rPr lang="en-US" sz="2650">
                <a:solidFill>
                  <a:srgbClr val="FFFFFF"/>
                </a:solidFill>
                <a:latin typeface="DM Sans"/>
                <a:cs typeface="Calibri"/>
              </a:rPr>
              <a:t>DRIVER 5</a:t>
            </a:r>
          </a:p>
        </p:txBody>
      </p:sp>
      <p:sp>
        <p:nvSpPr>
          <p:cNvPr id="20" name="TextBox 20"/>
          <p:cNvSpPr txBox="1"/>
          <p:nvPr/>
        </p:nvSpPr>
        <p:spPr>
          <a:xfrm>
            <a:off x="6096000" y="5000849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Healthcare Data Utilization</a:t>
            </a:r>
          </a:p>
        </p:txBody>
      </p:sp>
      <p:sp>
        <p:nvSpPr>
          <p:cNvPr id="21" name="TextBox 21"/>
          <p:cNvSpPr txBox="1"/>
          <p:nvPr/>
        </p:nvSpPr>
        <p:spPr>
          <a:xfrm>
            <a:off x="6096000" y="3903413"/>
            <a:ext cx="4569889" cy="362087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>
              <a:lnSpc>
                <a:spcPts val="2787"/>
              </a:lnSpc>
            </a:pPr>
            <a:r>
              <a:rPr lang="en-US" sz="2500">
                <a:solidFill>
                  <a:srgbClr val="545454"/>
                </a:solidFill>
                <a:latin typeface="DM Sans"/>
                <a:cs typeface="Calibri"/>
              </a:rPr>
              <a:t>Community Partnerships</a:t>
            </a:r>
          </a:p>
        </p:txBody>
      </p:sp>
      <p:sp>
        <p:nvSpPr>
          <p:cNvPr id="23" name="Rounded Rectangle 6">
            <a:extLst>
              <a:ext uri="{FF2B5EF4-FFF2-40B4-BE49-F238E27FC236}">
                <a16:creationId xmlns:a16="http://schemas.microsoft.com/office/drawing/2014/main" id="{78B5A3B7-0107-74A6-42BE-EFADF14BEC3D}"/>
              </a:ext>
            </a:extLst>
          </p:cNvPr>
          <p:cNvSpPr/>
          <p:nvPr/>
        </p:nvSpPr>
        <p:spPr>
          <a:xfrm>
            <a:off x="1606157" y="1324990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  <p:pic>
        <p:nvPicPr>
          <p:cNvPr id="24" name="Picture 23" descr="A logo with a person in the middle&#10;&#10;Description automatically generated">
            <a:extLst>
              <a:ext uri="{FF2B5EF4-FFF2-40B4-BE49-F238E27FC236}">
                <a16:creationId xmlns:a16="http://schemas.microsoft.com/office/drawing/2014/main" id="{BB2CB55F-0790-7175-FF6E-777FF2A900CC}"/>
              </a:ext>
            </a:extLst>
          </p:cNvPr>
          <p:cNvPicPr>
            <a:picLocks noChangeAspect="1"/>
          </p:cNvPicPr>
          <p:nvPr/>
        </p:nvPicPr>
        <p:blipFill rotWithShape="1"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8023" y="5872540"/>
            <a:ext cx="1889972" cy="886710"/>
          </a:xfrm>
          <a:prstGeom prst="rect">
            <a:avLst/>
          </a:prstGeom>
        </p:spPr>
      </p:pic>
      <p:sp>
        <p:nvSpPr>
          <p:cNvPr id="26" name="Freeform 23">
            <a:extLst>
              <a:ext uri="{FF2B5EF4-FFF2-40B4-BE49-F238E27FC236}">
                <a16:creationId xmlns:a16="http://schemas.microsoft.com/office/drawing/2014/main" id="{AE550962-E289-5DDA-2AB0-8CBF44084B7E}"/>
              </a:ext>
            </a:extLst>
          </p:cNvPr>
          <p:cNvSpPr/>
          <p:nvPr/>
        </p:nvSpPr>
        <p:spPr>
          <a:xfrm flipV="1">
            <a:off x="11688331" y="2293443"/>
            <a:ext cx="1116149" cy="2426412"/>
          </a:xfrm>
          <a:custGeom>
            <a:avLst/>
            <a:gdLst/>
            <a:ahLst/>
            <a:cxnLst/>
            <a:rect l="l" t="t" r="r" b="b"/>
            <a:pathLst>
              <a:path w="1674224" h="3639618">
                <a:moveTo>
                  <a:pt x="0" y="3639618"/>
                </a:moveTo>
                <a:lnTo>
                  <a:pt x="1674224" y="3639618"/>
                </a:lnTo>
                <a:lnTo>
                  <a:pt x="1674224" y="0"/>
                </a:lnTo>
                <a:lnTo>
                  <a:pt x="0" y="0"/>
                </a:lnTo>
                <a:lnTo>
                  <a:pt x="0" y="3639618"/>
                </a:lnTo>
                <a:close/>
              </a:path>
            </a:pathLst>
          </a:custGeom>
          <a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a:blipFill>
        </p:spPr>
        <p:txBody>
          <a:bodyPr/>
          <a:lstStyle/>
          <a:p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F497B51E-B23E-81E6-6EEC-C84EF82FCD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0546836" y="648780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  <a:cs typeface="Calibri"/>
              </a:rPr>
              <a:t>12</a:t>
            </a:r>
          </a:p>
        </p:txBody>
      </p: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0A25492-F368-5A21-5DC6-845AD3571FD6}"/>
              </a:ext>
            </a:extLst>
          </p:cNvPr>
          <p:cNvSpPr txBox="1">
            <a:spLocks/>
          </p:cNvSpPr>
          <p:nvPr/>
        </p:nvSpPr>
        <p:spPr>
          <a:xfrm>
            <a:off x="4995333" y="6544028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200" kern="1200">
                <a:solidFill>
                  <a:schemeClr val="tx1">
                    <a:tint val="82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>
                <a:latin typeface="DM Sans"/>
                <a:cs typeface="Calibri"/>
              </a:rPr>
              <a:t>Illinois Perinatal Quality Collaborative</a:t>
            </a:r>
          </a:p>
        </p:txBody>
      </p:sp>
      <p:sp>
        <p:nvSpPr>
          <p:cNvPr id="22" name="Rounded Rectangle 6">
            <a:extLst>
              <a:ext uri="{FF2B5EF4-FFF2-40B4-BE49-F238E27FC236}">
                <a16:creationId xmlns:a16="http://schemas.microsoft.com/office/drawing/2014/main" id="{4AE19F30-7B6E-FA78-5463-A889A5532E66}"/>
              </a:ext>
            </a:extLst>
          </p:cNvPr>
          <p:cNvSpPr/>
          <p:nvPr/>
        </p:nvSpPr>
        <p:spPr>
          <a:xfrm>
            <a:off x="1606156" y="2474917"/>
            <a:ext cx="10059729" cy="1157652"/>
          </a:xfrm>
          <a:prstGeom prst="roundRect">
            <a:avLst/>
          </a:prstGeom>
          <a:noFill/>
          <a:ln w="28575"/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endParaRPr lang="en-US" sz="1500">
              <a:ea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14181354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AA70D-3B97-AAF4-599A-5BEF539C23C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0" y="1844675"/>
            <a:ext cx="2805113" cy="1347788"/>
          </a:xfrm>
        </p:spPr>
        <p:txBody>
          <a:bodyPr/>
          <a:lstStyle/>
          <a:p>
            <a:pPr algn="ctr"/>
            <a:r>
              <a:rPr lang="en-US" sz="4000">
                <a:latin typeface="DM Sans"/>
                <a:ea typeface="Lato Medium"/>
                <a:cs typeface="Lato Medium"/>
              </a:rPr>
              <a:t>Key Driver Diagram</a:t>
            </a:r>
            <a:endParaRPr lang="en-US" sz="4000">
              <a:latin typeface="DM Sans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B148D1D-0EE2-FC94-7AFE-82D9E9F0BFF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9448800" y="6042025"/>
            <a:ext cx="2743200" cy="365125"/>
          </a:xfrm>
        </p:spPr>
        <p:txBody>
          <a:bodyPr/>
          <a:lstStyle/>
          <a:p>
            <a:fld id="{97033E4B-E3EB-3D46-B2D8-3159663620FA}" type="slidenum">
              <a:rPr lang="en-US" dirty="0" smtClean="0"/>
              <a:pPr/>
              <a:t>6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E74FBFB-1843-9ED4-705E-449C6A1AC84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0" y="6405563"/>
            <a:ext cx="4114800" cy="365125"/>
          </a:xfrm>
        </p:spPr>
        <p:txBody>
          <a:bodyPr/>
          <a:lstStyle/>
          <a:p>
            <a:pPr algn="l"/>
            <a:r>
              <a:rPr lang="en-US">
                <a:latin typeface="DM Sans"/>
              </a:rPr>
              <a:t>Illinois Perinatal Quality Collaborativ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B08BEB2-2B67-CEC7-F7A5-CA6255803980}"/>
              </a:ext>
            </a:extLst>
          </p:cNvPr>
          <p:cNvSpPr/>
          <p:nvPr/>
        </p:nvSpPr>
        <p:spPr>
          <a:xfrm>
            <a:off x="2857500" y="5654009"/>
            <a:ext cx="9144000" cy="89022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ounded Rectangle 6">
            <a:extLst>
              <a:ext uri="{FF2B5EF4-FFF2-40B4-BE49-F238E27FC236}">
                <a16:creationId xmlns:a16="http://schemas.microsoft.com/office/drawing/2014/main" id="{EB9283BE-051A-06BD-CAA6-184C9D686C2F}"/>
              </a:ext>
            </a:extLst>
          </p:cNvPr>
          <p:cNvSpPr/>
          <p:nvPr/>
        </p:nvSpPr>
        <p:spPr>
          <a:xfrm>
            <a:off x="2804105" y="646630"/>
            <a:ext cx="1922145" cy="476250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r>
              <a:rPr lang="en-US" sz="1500">
                <a:latin typeface="Calibri"/>
                <a:cs typeface="Calibri"/>
              </a:rPr>
              <a:t>By December 2025: </a:t>
            </a:r>
            <a:endParaRPr lang="en-US" sz="1500">
              <a:latin typeface="Calibri"/>
              <a:ea typeface="Calibri"/>
              <a:cs typeface="Calibri"/>
            </a:endParaRPr>
          </a:p>
          <a:p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1. Greater than 70% of Illinois birthing and children’s hospitals will address disparities and promote neonatal equity by actively participating in the ESSI initiative.</a:t>
            </a:r>
            <a:endParaRPr lang="en-US" sz="1500">
              <a:latin typeface="Calibri"/>
              <a:ea typeface="Calibri"/>
              <a:cs typeface="Calibri"/>
            </a:endParaRPr>
          </a:p>
          <a:p>
            <a:pPr marL="342900" indent="-342900">
              <a:buAutoNum type="arabicParenR"/>
            </a:pPr>
            <a:endParaRPr lang="en-US" sz="1500">
              <a:latin typeface="Calibri"/>
              <a:ea typeface="Calibri"/>
              <a:cs typeface="Calibri"/>
            </a:endParaRPr>
          </a:p>
          <a:p>
            <a:r>
              <a:rPr lang="en-US" sz="1500">
                <a:latin typeface="Calibri"/>
                <a:cs typeface="Calibri"/>
              </a:rPr>
              <a:t>2. Greater than 80% of infants will be discharged from ILPQC hospitals with a completed ESSI bundle. </a:t>
            </a:r>
            <a:r>
              <a:rPr lang="en-US" sz="1500"/>
              <a:t> </a:t>
            </a:r>
            <a:endParaRPr lang="en-US" sz="1500">
              <a:ea typeface="Calibri"/>
              <a:cs typeface="Calibri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180EE81-4D08-B0DE-D216-FE8E15396519}"/>
              </a:ext>
            </a:extLst>
          </p:cNvPr>
          <p:cNvSpPr txBox="1"/>
          <p:nvPr/>
        </p:nvSpPr>
        <p:spPr>
          <a:xfrm>
            <a:off x="3247926" y="273053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Aims</a:t>
            </a:r>
            <a:endParaRPr lang="en-US" b="1">
              <a:solidFill>
                <a:schemeClr val="accent1"/>
              </a:solidFill>
              <a:cs typeface="Calibri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8A4033-3B68-E3F4-A3B5-A12C5ED59569}"/>
              </a:ext>
            </a:extLst>
          </p:cNvPr>
          <p:cNvSpPr txBox="1"/>
          <p:nvPr/>
        </p:nvSpPr>
        <p:spPr>
          <a:xfrm>
            <a:off x="4717812" y="276098"/>
            <a:ext cx="2005361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Primary Drivers</a:t>
            </a:r>
          </a:p>
        </p:txBody>
      </p:sp>
      <p:sp>
        <p:nvSpPr>
          <p:cNvPr id="18" name="Rounded Rectangle 22">
            <a:extLst>
              <a:ext uri="{FF2B5EF4-FFF2-40B4-BE49-F238E27FC236}">
                <a16:creationId xmlns:a16="http://schemas.microsoft.com/office/drawing/2014/main" id="{C3730C62-AFAC-21AA-3E7A-7AEAD34CE3BE}"/>
              </a:ext>
            </a:extLst>
          </p:cNvPr>
          <p:cNvSpPr/>
          <p:nvPr/>
        </p:nvSpPr>
        <p:spPr>
          <a:xfrm>
            <a:off x="4785239" y="800214"/>
            <a:ext cx="1661844" cy="69979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Professional Commitment</a:t>
            </a:r>
          </a:p>
        </p:txBody>
      </p:sp>
      <p:sp>
        <p:nvSpPr>
          <p:cNvPr id="20" name="Rounded Rectangle 76">
            <a:extLst>
              <a:ext uri="{FF2B5EF4-FFF2-40B4-BE49-F238E27FC236}">
                <a16:creationId xmlns:a16="http://schemas.microsoft.com/office/drawing/2014/main" id="{B73A5A2B-E8B2-3A4D-6254-3A3DB1483B77}"/>
              </a:ext>
            </a:extLst>
          </p:cNvPr>
          <p:cNvSpPr/>
          <p:nvPr/>
        </p:nvSpPr>
        <p:spPr>
          <a:xfrm>
            <a:off x="4785172" y="1778930"/>
            <a:ext cx="16618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Inclusive Clinical Environment</a:t>
            </a:r>
          </a:p>
        </p:txBody>
      </p:sp>
      <p:sp>
        <p:nvSpPr>
          <p:cNvPr id="22" name="Rounded Rectangle 83">
            <a:extLst>
              <a:ext uri="{FF2B5EF4-FFF2-40B4-BE49-F238E27FC236}">
                <a16:creationId xmlns:a16="http://schemas.microsoft.com/office/drawing/2014/main" id="{DCD883C2-E6A5-6751-C6D1-3BC19BAEBB65}"/>
              </a:ext>
            </a:extLst>
          </p:cNvPr>
          <p:cNvSpPr/>
          <p:nvPr/>
        </p:nvSpPr>
        <p:spPr>
          <a:xfrm>
            <a:off x="4789674" y="2711059"/>
            <a:ext cx="1674544" cy="7929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Parent and Caregiver Empowerment</a:t>
            </a:r>
            <a:endParaRPr lang="en-US" sz="1600">
              <a:latin typeface="Calibri"/>
              <a:ea typeface="Calibri"/>
              <a:cs typeface="Calibri"/>
            </a:endParaRPr>
          </a:p>
        </p:txBody>
      </p:sp>
      <p:sp>
        <p:nvSpPr>
          <p:cNvPr id="24" name="Rounded Rectangle 84">
            <a:extLst>
              <a:ext uri="{FF2B5EF4-FFF2-40B4-BE49-F238E27FC236}">
                <a16:creationId xmlns:a16="http://schemas.microsoft.com/office/drawing/2014/main" id="{C9EDA1B8-B2B5-4AB7-BE28-FD2E702400CA}"/>
              </a:ext>
            </a:extLst>
          </p:cNvPr>
          <p:cNvSpPr/>
          <p:nvPr/>
        </p:nvSpPr>
        <p:spPr>
          <a:xfrm>
            <a:off x="4789268" y="3771300"/>
            <a:ext cx="1674544" cy="681461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Community </a:t>
            </a:r>
            <a:r>
              <a:rPr lang="en-US" sz="1600">
                <a:solidFill>
                  <a:srgbClr val="FF0000"/>
                </a:solidFill>
                <a:latin typeface="Calibri"/>
                <a:cs typeface="Calibri"/>
              </a:rPr>
              <a:t> </a:t>
            </a:r>
            <a:r>
              <a:rPr lang="en-US" sz="1600">
                <a:solidFill>
                  <a:schemeClr val="tx1"/>
                </a:solidFill>
                <a:latin typeface="Calibri"/>
                <a:cs typeface="Calibri"/>
              </a:rPr>
              <a:t>Partnerships</a:t>
            </a:r>
            <a:endParaRPr lang="en-US" sz="16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6" name="Rounded Rectangle 85">
            <a:extLst>
              <a:ext uri="{FF2B5EF4-FFF2-40B4-BE49-F238E27FC236}">
                <a16:creationId xmlns:a16="http://schemas.microsoft.com/office/drawing/2014/main" id="{78A60644-0FDA-E9A5-A8A9-AB39830E7D17}"/>
              </a:ext>
            </a:extLst>
          </p:cNvPr>
          <p:cNvSpPr/>
          <p:nvPr/>
        </p:nvSpPr>
        <p:spPr>
          <a:xfrm>
            <a:off x="4795447" y="4698068"/>
            <a:ext cx="1687244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1600">
                <a:latin typeface="Calibri"/>
                <a:cs typeface="Calibri"/>
              </a:rPr>
              <a:t>Healthcare Data Utilization</a:t>
            </a:r>
          </a:p>
        </p:txBody>
      </p:sp>
      <p:sp>
        <p:nvSpPr>
          <p:cNvPr id="28" name="Rounded Rectangle 87">
            <a:extLst>
              <a:ext uri="{FF2B5EF4-FFF2-40B4-BE49-F238E27FC236}">
                <a16:creationId xmlns:a16="http://schemas.microsoft.com/office/drawing/2014/main" id="{4DD97BA5-B3EA-9953-A828-AC4406353BE4}"/>
              </a:ext>
            </a:extLst>
          </p:cNvPr>
          <p:cNvSpPr/>
          <p:nvPr/>
        </p:nvSpPr>
        <p:spPr>
          <a:xfrm>
            <a:off x="6543427" y="858378"/>
            <a:ext cx="5529655" cy="58977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Equitable and Respectful Care Education and Implement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Environment Education and Implementation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F6297887-83BD-82E8-1C79-F8E9E0836828}"/>
              </a:ext>
            </a:extLst>
          </p:cNvPr>
          <p:cNvSpPr txBox="1"/>
          <p:nvPr/>
        </p:nvSpPr>
        <p:spPr>
          <a:xfrm>
            <a:off x="7972721" y="274352"/>
            <a:ext cx="2667520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b="1">
                <a:solidFill>
                  <a:schemeClr val="accent1"/>
                </a:solidFill>
                <a:latin typeface="Arial"/>
                <a:ea typeface="MS PGothic"/>
                <a:cs typeface="Arial"/>
              </a:rPr>
              <a:t>Secondary Drivers</a:t>
            </a:r>
          </a:p>
        </p:txBody>
      </p:sp>
      <p:sp>
        <p:nvSpPr>
          <p:cNvPr id="32" name="Rounded Rectangle 89">
            <a:extLst>
              <a:ext uri="{FF2B5EF4-FFF2-40B4-BE49-F238E27FC236}">
                <a16:creationId xmlns:a16="http://schemas.microsoft.com/office/drawing/2014/main" id="{8449D5CB-7C16-EDDA-3100-9116410AABE0}"/>
              </a:ext>
            </a:extLst>
          </p:cNvPr>
          <p:cNvSpPr/>
          <p:nvPr/>
        </p:nvSpPr>
        <p:spPr>
          <a:xfrm>
            <a:off x="6602417" y="1710625"/>
            <a:ext cx="5480760" cy="739087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ea typeface="+mn-lt"/>
                <a:cs typeface="+mn-lt"/>
              </a:rPr>
              <a:t>Equitable and Inclusive Unit Policies</a:t>
            </a:r>
            <a:endParaRPr lang="en-US">
              <a:ea typeface="+mn-lt"/>
              <a:cs typeface="+mn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Organizational Leadership Commitment</a:t>
            </a:r>
            <a:endParaRPr lang="en-US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Parent and Caregiver Experience Prioritization</a:t>
            </a:r>
            <a:endParaRPr lang="en-US" sz="1400" b="1" err="1">
              <a:latin typeface="Calibri"/>
              <a:ea typeface="Calibri"/>
              <a:cs typeface="Calibri"/>
            </a:endParaRPr>
          </a:p>
        </p:txBody>
      </p:sp>
      <p:sp>
        <p:nvSpPr>
          <p:cNvPr id="34" name="Rounded Rectangle 90">
            <a:extLst>
              <a:ext uri="{FF2B5EF4-FFF2-40B4-BE49-F238E27FC236}">
                <a16:creationId xmlns:a16="http://schemas.microsoft.com/office/drawing/2014/main" id="{CB726A25-CFF2-A633-BB75-01000B742058}"/>
              </a:ext>
            </a:extLst>
          </p:cNvPr>
          <p:cNvSpPr/>
          <p:nvPr/>
        </p:nvSpPr>
        <p:spPr>
          <a:xfrm>
            <a:off x="6611873" y="2704406"/>
            <a:ext cx="5476926" cy="788843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spectful Parent and Caregiver Partnerships</a:t>
            </a:r>
            <a:endParaRPr lang="en-US" sz="1400" b="1">
              <a:solidFill>
                <a:srgbClr val="FF0000"/>
              </a:solidFill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Safe Sleep Awareness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Transition to Home, including </a:t>
            </a:r>
            <a:r>
              <a:rPr lang="en-US" sz="1400" err="1">
                <a:solidFill>
                  <a:schemeClr val="tx1"/>
                </a:solidFill>
                <a:latin typeface="Calibri"/>
                <a:cs typeface="Calibri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cs typeface="Calibri"/>
              </a:rPr>
              <a:t>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creening and Resource Linkage</a:t>
            </a:r>
            <a:endParaRPr lang="en-US" sz="1400">
              <a:solidFill>
                <a:schemeClr val="tx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6" name="Rounded Rectangle 91">
            <a:extLst>
              <a:ext uri="{FF2B5EF4-FFF2-40B4-BE49-F238E27FC236}">
                <a16:creationId xmlns:a16="http://schemas.microsoft.com/office/drawing/2014/main" id="{C5BA209B-6AD7-115B-8383-D8382814ACEE}"/>
              </a:ext>
            </a:extLst>
          </p:cNvPr>
          <p:cNvSpPr/>
          <p:nvPr/>
        </p:nvSpPr>
        <p:spPr>
          <a:xfrm>
            <a:off x="6606479" y="3667823"/>
            <a:ext cx="5474238" cy="785370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Resource Mapp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Building Relationships with Community Organiz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solidFill>
                  <a:schemeClr val="tx1"/>
                </a:solidFill>
                <a:latin typeface="Calibri"/>
                <a:ea typeface="Calibri"/>
                <a:cs typeface="Calibri"/>
              </a:rPr>
              <a:t>Transfer of Care to Community Providers</a:t>
            </a:r>
          </a:p>
        </p:txBody>
      </p:sp>
      <p:sp>
        <p:nvSpPr>
          <p:cNvPr id="38" name="Rounded Rectangle 92">
            <a:extLst>
              <a:ext uri="{FF2B5EF4-FFF2-40B4-BE49-F238E27FC236}">
                <a16:creationId xmlns:a16="http://schemas.microsoft.com/office/drawing/2014/main" id="{DD496E2B-129D-7877-3471-A97FA7218225}"/>
              </a:ext>
            </a:extLst>
          </p:cNvPr>
          <p:cNvSpPr/>
          <p:nvPr/>
        </p:nvSpPr>
        <p:spPr>
          <a:xfrm>
            <a:off x="6606981" y="4625513"/>
            <a:ext cx="5474238" cy="736472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Collection of Accurate Race and Ethnicity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Dissemination of Stratified Data</a:t>
            </a:r>
            <a:endParaRPr lang="en-US" sz="1400">
              <a:latin typeface="Calibri"/>
              <a:ea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>
                <a:latin typeface="Calibri"/>
                <a:cs typeface="Calibri"/>
              </a:rPr>
              <a:t>Application of Data to Address Inequities</a:t>
            </a:r>
            <a:endParaRPr lang="en-US" sz="1400">
              <a:latin typeface="Calibri"/>
              <a:ea typeface="Calibri"/>
              <a:cs typeface="Calibri"/>
            </a:endParaRPr>
          </a:p>
        </p:txBody>
      </p:sp>
      <p:sp>
        <p:nvSpPr>
          <p:cNvPr id="40" name="Rounded Rectangle 93">
            <a:extLst>
              <a:ext uri="{FF2B5EF4-FFF2-40B4-BE49-F238E27FC236}">
                <a16:creationId xmlns:a16="http://schemas.microsoft.com/office/drawing/2014/main" id="{BDCA2154-1309-1ECE-3338-3B699831342F}"/>
              </a:ext>
            </a:extLst>
          </p:cNvPr>
          <p:cNvSpPr/>
          <p:nvPr/>
        </p:nvSpPr>
        <p:spPr>
          <a:xfrm>
            <a:off x="2978110" y="5811228"/>
            <a:ext cx="1058563" cy="595955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en-US" sz="1400" b="1"/>
              <a:t>ESSI Bundle</a:t>
            </a:r>
            <a:r>
              <a:rPr lang="en-US" sz="1400"/>
              <a:t>:</a:t>
            </a:r>
          </a:p>
        </p:txBody>
      </p:sp>
      <p:sp>
        <p:nvSpPr>
          <p:cNvPr id="42" name="Rounded Rectangle 96">
            <a:extLst>
              <a:ext uri="{FF2B5EF4-FFF2-40B4-BE49-F238E27FC236}">
                <a16:creationId xmlns:a16="http://schemas.microsoft.com/office/drawing/2014/main" id="{E9E3C6CF-96AA-68D8-0977-EC06066DAB15}"/>
              </a:ext>
            </a:extLst>
          </p:cNvPr>
          <p:cNvSpPr/>
          <p:nvPr/>
        </p:nvSpPr>
        <p:spPr>
          <a:xfrm>
            <a:off x="4190069" y="5500950"/>
            <a:ext cx="7906627" cy="1217038"/>
          </a:xfrm>
          <a:prstGeom prst="round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91440" tIns="45720" rIns="91440" bIns="45720"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Awareness</a:t>
            </a:r>
            <a:r>
              <a:rPr lang="en-US" sz="1400">
                <a:latin typeface="Calibri"/>
                <a:cs typeface="Calibri"/>
              </a:rPr>
              <a:t>: Parents or caregivers report an understanding of a safe sleep environment, including navigating challenges to safe sleep at hom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Readiness</a:t>
            </a:r>
            <a:r>
              <a:rPr lang="en-US" sz="1400">
                <a:latin typeface="Calibri"/>
                <a:cs typeface="Calibri"/>
              </a:rPr>
              <a:t>: 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Family is prepared for a transition to home, including </a:t>
            </a:r>
            <a:r>
              <a:rPr lang="en-US" sz="1400" err="1">
                <a:solidFill>
                  <a:schemeClr val="tx1"/>
                </a:solidFill>
                <a:latin typeface="Calibri"/>
                <a:ea typeface="+mn-lt"/>
                <a:cs typeface="+mn-lt"/>
              </a:rPr>
              <a:t>SDoH</a:t>
            </a:r>
            <a:r>
              <a:rPr lang="en-US" sz="1400">
                <a:solidFill>
                  <a:schemeClr val="tx1"/>
                </a:solidFill>
                <a:latin typeface="Calibri"/>
                <a:ea typeface="+mn-lt"/>
                <a:cs typeface="+mn-lt"/>
              </a:rPr>
              <a:t> screening and resource linkage</a:t>
            </a:r>
            <a:endParaRPr lang="en-US" sz="1400">
              <a:solidFill>
                <a:schemeClr val="tx1"/>
              </a:solidFill>
              <a:latin typeface="Calibri"/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b="1">
                <a:latin typeface="Calibri"/>
                <a:cs typeface="Calibri"/>
              </a:rPr>
              <a:t>Transfer of Care</a:t>
            </a:r>
            <a:r>
              <a:rPr lang="en-US" sz="1400">
                <a:latin typeface="Calibri"/>
                <a:cs typeface="Calibri"/>
              </a:rPr>
              <a:t>: ESSI Newborn Care Plan (Awareness &amp; Readiness) documented in the discharge </a:t>
            </a:r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E28592-FDD2-A9FB-FF64-0D7E537442D4}"/>
              </a:ext>
            </a:extLst>
          </p:cNvPr>
          <p:cNvSpPr/>
          <p:nvPr/>
        </p:nvSpPr>
        <p:spPr>
          <a:xfrm>
            <a:off x="4730323" y="1601958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02B4FC7-02B4-B308-F882-1F10636CBFF9}"/>
              </a:ext>
            </a:extLst>
          </p:cNvPr>
          <p:cNvSpPr/>
          <p:nvPr/>
        </p:nvSpPr>
        <p:spPr>
          <a:xfrm>
            <a:off x="4397613" y="1403122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cs typeface="Calibri"/>
              </a:rPr>
              <a:t>2</a:t>
            </a:r>
            <a:endParaRPr lang="en-US" sz="320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E336F7CB-6EF1-3A82-CF3D-F881FC29F4CD}"/>
              </a:ext>
            </a:extLst>
          </p:cNvPr>
          <p:cNvSpPr/>
          <p:nvPr/>
        </p:nvSpPr>
        <p:spPr>
          <a:xfrm>
            <a:off x="4747641" y="2632389"/>
            <a:ext cx="7442547" cy="960328"/>
          </a:xfrm>
          <a:prstGeom prst="roundRect">
            <a:avLst/>
          </a:prstGeom>
          <a:noFill/>
          <a:ln w="28575"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2DF8592-06E8-9B71-04C3-A15FB7821C4D}"/>
              </a:ext>
            </a:extLst>
          </p:cNvPr>
          <p:cNvSpPr/>
          <p:nvPr/>
        </p:nvSpPr>
        <p:spPr>
          <a:xfrm>
            <a:off x="4397612" y="2320985"/>
            <a:ext cx="636739" cy="615863"/>
          </a:xfrm>
          <a:prstGeom prst="ellipse">
            <a:avLst/>
          </a:prstGeom>
          <a:solidFill>
            <a:schemeClr val="accent2">
              <a:lumMod val="75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US" sz="3200">
                <a:cs typeface="Calibri"/>
              </a:rPr>
              <a:t>3</a:t>
            </a:r>
            <a:endParaRPr lang="en-US" sz="3200"/>
          </a:p>
        </p:txBody>
      </p:sp>
    </p:spTree>
    <p:extLst>
      <p:ext uri="{BB962C8B-B14F-4D97-AF65-F5344CB8AC3E}">
        <p14:creationId xmlns:p14="http://schemas.microsoft.com/office/powerpoint/2010/main" val="121002217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65D824F-CBC2-A26E-B064-6A81BF5B458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948829FD-D6EC-1A4B-2358-D5A9C3C5D797}"/>
              </a:ext>
            </a:extLst>
          </p:cNvPr>
          <p:cNvSpPr txBox="1"/>
          <p:nvPr/>
        </p:nvSpPr>
        <p:spPr>
          <a:xfrm>
            <a:off x="9532405" y="3572633"/>
            <a:ext cx="2069943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>
              <a:lnSpc>
                <a:spcPts val="2400"/>
              </a:lnSpc>
            </a:pPr>
            <a:r>
              <a:rPr lang="en-US" b="1" dirty="0">
                <a:solidFill>
                  <a:srgbClr val="813158"/>
                </a:solidFill>
                <a:latin typeface="Aptos"/>
              </a:rPr>
              <a:t>Reminder: Continue to submit your monthly data!</a:t>
            </a:r>
          </a:p>
        </p:txBody>
      </p:sp>
    </p:spTree>
    <p:extLst>
      <p:ext uri="{BB962C8B-B14F-4D97-AF65-F5344CB8AC3E}">
        <p14:creationId xmlns:p14="http://schemas.microsoft.com/office/powerpoint/2010/main" val="1037230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graph of a sleep environment&#10;&#10;Description automatically generated">
            <a:extLst>
              <a:ext uri="{FF2B5EF4-FFF2-40B4-BE49-F238E27FC236}">
                <a16:creationId xmlns:a16="http://schemas.microsoft.com/office/drawing/2014/main" id="{388D03AD-D271-D777-126B-5A3C1CA0D3A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Box 6">
            <a:extLst>
              <a:ext uri="{FF2B5EF4-FFF2-40B4-BE49-F238E27FC236}">
                <a16:creationId xmlns:a16="http://schemas.microsoft.com/office/drawing/2014/main" id="{E90B732B-C59E-3C72-BC1D-CB9CC73746FC}"/>
              </a:ext>
            </a:extLst>
          </p:cNvPr>
          <p:cNvSpPr txBox="1"/>
          <p:nvPr/>
        </p:nvSpPr>
        <p:spPr>
          <a:xfrm>
            <a:off x="9532405" y="3572633"/>
            <a:ext cx="2069943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>
              <a:lnSpc>
                <a:spcPts val="2400"/>
              </a:lnSpc>
            </a:pPr>
            <a:r>
              <a:rPr lang="en-US" b="1" dirty="0">
                <a:solidFill>
                  <a:srgbClr val="813158"/>
                </a:solidFill>
                <a:latin typeface="Aptos"/>
              </a:rPr>
              <a:t>Reminder: Continue to submit your monthly data!</a:t>
            </a:r>
          </a:p>
        </p:txBody>
      </p:sp>
    </p:spTree>
    <p:extLst>
      <p:ext uri="{BB962C8B-B14F-4D97-AF65-F5344CB8AC3E}">
        <p14:creationId xmlns:p14="http://schemas.microsoft.com/office/powerpoint/2010/main" val="256146839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DDF0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FF51E02F-E2A5-D75F-2F0A-D0D63DFAB65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Box 6">
            <a:extLst>
              <a:ext uri="{FF2B5EF4-FFF2-40B4-BE49-F238E27FC236}">
                <a16:creationId xmlns:a16="http://schemas.microsoft.com/office/drawing/2014/main" id="{6C1537B8-3725-8FAD-7892-285B7A359C1C}"/>
              </a:ext>
            </a:extLst>
          </p:cNvPr>
          <p:cNvSpPr txBox="1"/>
          <p:nvPr/>
        </p:nvSpPr>
        <p:spPr>
          <a:xfrm>
            <a:off x="9532405" y="3572633"/>
            <a:ext cx="2069943" cy="1231106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15900" lvl="1">
              <a:lnSpc>
                <a:spcPts val="2400"/>
              </a:lnSpc>
            </a:pPr>
            <a:r>
              <a:rPr lang="en-US" b="1" dirty="0">
                <a:solidFill>
                  <a:srgbClr val="813158"/>
                </a:solidFill>
                <a:latin typeface="Aptos"/>
              </a:rPr>
              <a:t>Reminder: Continue to submit your monthly data!</a:t>
            </a:r>
          </a:p>
        </p:txBody>
      </p:sp>
    </p:spTree>
    <p:extLst>
      <p:ext uri="{BB962C8B-B14F-4D97-AF65-F5344CB8AC3E}">
        <p14:creationId xmlns:p14="http://schemas.microsoft.com/office/powerpoint/2010/main" val="425879016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 Theme">
      <a:majorFont>
        <a:latin typeface="Aptos Display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ptos" panose="020B000402020202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1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ILPQC">
      <a:dk1>
        <a:srgbClr val="444C55"/>
      </a:dk1>
      <a:lt1>
        <a:srgbClr val="FFFFFF"/>
      </a:lt1>
      <a:dk2>
        <a:srgbClr val="79818A"/>
      </a:dk2>
      <a:lt2>
        <a:srgbClr val="F3F6FB"/>
      </a:lt2>
      <a:accent1>
        <a:srgbClr val="1C498B"/>
      </a:accent1>
      <a:accent2>
        <a:srgbClr val="F5668F"/>
      </a:accent2>
      <a:accent3>
        <a:srgbClr val="F58366"/>
      </a:accent3>
      <a:accent4>
        <a:srgbClr val="FDD702"/>
      </a:accent4>
      <a:accent5>
        <a:srgbClr val="6B95FD"/>
      </a:accent5>
      <a:accent6>
        <a:srgbClr val="A3B745"/>
      </a:accent6>
      <a:hlink>
        <a:srgbClr val="6B95FD"/>
      </a:hlink>
      <a:folHlink>
        <a:srgbClr val="6B95FD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Artistic expressions and cultural heritage - French - 9th grade by Slidesgo">
  <a:themeElements>
    <a:clrScheme name="Simple Light">
      <a:dk1>
        <a:srgbClr val="0C3550"/>
      </a:dk1>
      <a:lt1>
        <a:srgbClr val="FFE7D6"/>
      </a:lt1>
      <a:dk2>
        <a:srgbClr val="425225"/>
      </a:dk2>
      <a:lt2>
        <a:srgbClr val="F57133"/>
      </a:lt2>
      <a:accent1>
        <a:srgbClr val="598989"/>
      </a:accent1>
      <a:accent2>
        <a:srgbClr val="C49A6C"/>
      </a:accent2>
      <a:accent3>
        <a:srgbClr val="FFFFFF"/>
      </a:accent3>
      <a:accent4>
        <a:srgbClr val="FFFFFF"/>
      </a:accent4>
      <a:accent5>
        <a:srgbClr val="FFFFFF"/>
      </a:accent5>
      <a:accent6>
        <a:srgbClr val="FFFFFF"/>
      </a:accent6>
      <a:hlink>
        <a:srgbClr val="0C3550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0</TotalTime>
  <Words>939</Words>
  <Application>Microsoft Macintosh PowerPoint</Application>
  <PresentationFormat>Widescreen</PresentationFormat>
  <Paragraphs>169</Paragraphs>
  <Slides>29</Slides>
  <Notes>13</Notes>
  <HiddenSlides>0</HiddenSlides>
  <MMClips>0</MMClips>
  <ScaleCrop>false</ScaleCrop>
  <HeadingPairs>
    <vt:vector size="8" baseType="variant">
      <vt:variant>
        <vt:lpstr>Fonts Used</vt:lpstr>
      </vt:variant>
      <vt:variant>
        <vt:i4>24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58" baseType="lpstr">
      <vt:lpstr>Aptos</vt:lpstr>
      <vt:lpstr>Aptos Display</vt:lpstr>
      <vt:lpstr>Arial</vt:lpstr>
      <vt:lpstr>Barlow</vt:lpstr>
      <vt:lpstr>Bierstadt Display</vt:lpstr>
      <vt:lpstr>Calibri</vt:lpstr>
      <vt:lpstr>Canva Sans 2 Bold</vt:lpstr>
      <vt:lpstr>Canva Sans Bold</vt:lpstr>
      <vt:lpstr>Century Gothic</vt:lpstr>
      <vt:lpstr>Chelsea Market</vt:lpstr>
      <vt:lpstr>Courier New</vt:lpstr>
      <vt:lpstr>Courier New,monospace</vt:lpstr>
      <vt:lpstr>DM Sans</vt:lpstr>
      <vt:lpstr>Helvetica Neue</vt:lpstr>
      <vt:lpstr>Helvetica Neue Medium</vt:lpstr>
      <vt:lpstr>Josefin Slab</vt:lpstr>
      <vt:lpstr>Kollektif Bold</vt:lpstr>
      <vt:lpstr>Lato Light</vt:lpstr>
      <vt:lpstr>Lato Medium</vt:lpstr>
      <vt:lpstr>Noto Sans Symbols</vt:lpstr>
      <vt:lpstr>Nunito Light</vt:lpstr>
      <vt:lpstr>Times New Roman</vt:lpstr>
      <vt:lpstr>Verdana</vt:lpstr>
      <vt:lpstr>Wingdings</vt:lpstr>
      <vt:lpstr>office theme</vt:lpstr>
      <vt:lpstr>1_Office Theme</vt:lpstr>
      <vt:lpstr>3_Office Theme</vt:lpstr>
      <vt:lpstr>Artistic expressions and cultural heritage - French - 9th grade by Slidesgo</vt:lpstr>
      <vt:lpstr>think-cell Slide</vt:lpstr>
      <vt:lpstr>Equity and Safe Sleep for Infants  </vt:lpstr>
      <vt:lpstr>ATTENDANCE POLL</vt:lpstr>
      <vt:lpstr>ESSI Aims and Measures</vt:lpstr>
      <vt:lpstr>ESSI Initiative Aims</vt:lpstr>
      <vt:lpstr>PowerPoint Presentation</vt:lpstr>
      <vt:lpstr>Key Driver Diagram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LL</vt:lpstr>
      <vt:lpstr>PowerPoint Presentation</vt:lpstr>
      <vt:lpstr>PowerPoint Presentation</vt:lpstr>
      <vt:lpstr>Getting to Green: Hospital has a standardized process to use qualified language interpreters in parents/caregivers' preferred language.</vt:lpstr>
      <vt:lpstr>What might this look like?  Examples taken from California Perinatal Quality Care Collaborative's Resource Bundle</vt:lpstr>
      <vt:lpstr>Signage for Infant’s Crib/Room Indicating NELP Family Status </vt:lpstr>
      <vt:lpstr>PowerPoint Presentation</vt:lpstr>
      <vt:lpstr>PowerPoint Presentation</vt:lpstr>
      <vt:lpstr>PowerPoint Presentation</vt:lpstr>
      <vt:lpstr>PowerPoint Presentation</vt:lpstr>
      <vt:lpstr>Upcoming Opportunities of Interest to ESSI Teams</vt:lpstr>
      <vt:lpstr>PowerPoint Presentation</vt:lpstr>
      <vt:lpstr>PowerPoint Presentation</vt:lpstr>
      <vt:lpstr>Diversity Science Dignity in Pregnancy &amp; Childbirth: Preventing Racial Bias in Perinatal Care</vt:lpstr>
      <vt:lpstr>PowerPoint Presentation</vt:lpstr>
      <vt:lpstr>Data Collection Timelines</vt:lpstr>
      <vt:lpstr>Upcoming ESSI Call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Kiela Karina Moreno</cp:lastModifiedBy>
  <cp:revision>171</cp:revision>
  <dcterms:created xsi:type="dcterms:W3CDTF">2024-06-17T00:28:45Z</dcterms:created>
  <dcterms:modified xsi:type="dcterms:W3CDTF">2024-07-15T20:20:43Z</dcterms:modified>
</cp:coreProperties>
</file>